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3"/>
  </p:notesMasterIdLst>
  <p:sldIdLst>
    <p:sldId id="2147469993" r:id="rId5"/>
    <p:sldId id="2147469994" r:id="rId6"/>
    <p:sldId id="2147469996" r:id="rId7"/>
    <p:sldId id="2147470006" r:id="rId8"/>
    <p:sldId id="2147470007" r:id="rId9"/>
    <p:sldId id="2147470041" r:id="rId10"/>
    <p:sldId id="2147470040" r:id="rId11"/>
    <p:sldId id="2147470008" r:id="rId12"/>
    <p:sldId id="2147470001" r:id="rId13"/>
    <p:sldId id="2147470002" r:id="rId14"/>
    <p:sldId id="2147470004" r:id="rId15"/>
    <p:sldId id="2147470005" r:id="rId16"/>
    <p:sldId id="2147470009" r:id="rId17"/>
    <p:sldId id="2147470010" r:id="rId18"/>
    <p:sldId id="2147470003" r:id="rId19"/>
    <p:sldId id="2147470011" r:id="rId20"/>
    <p:sldId id="2147470012" r:id="rId21"/>
    <p:sldId id="2147470013" r:id="rId22"/>
    <p:sldId id="2147470015" r:id="rId23"/>
    <p:sldId id="2147470016" r:id="rId24"/>
    <p:sldId id="2147470017" r:id="rId25"/>
    <p:sldId id="2147470018" r:id="rId26"/>
    <p:sldId id="2147470019" r:id="rId27"/>
    <p:sldId id="2147470021" r:id="rId28"/>
    <p:sldId id="2147470042" r:id="rId29"/>
    <p:sldId id="2147470022" r:id="rId30"/>
    <p:sldId id="2147470023" r:id="rId31"/>
    <p:sldId id="2147470024" r:id="rId32"/>
    <p:sldId id="2147470025" r:id="rId33"/>
    <p:sldId id="2147470026" r:id="rId34"/>
    <p:sldId id="2147470027" r:id="rId35"/>
    <p:sldId id="2147470028" r:id="rId36"/>
    <p:sldId id="2147470029" r:id="rId37"/>
    <p:sldId id="2147470030" r:id="rId38"/>
    <p:sldId id="2147470031" r:id="rId39"/>
    <p:sldId id="2147470032" r:id="rId40"/>
    <p:sldId id="2147470043" r:id="rId41"/>
    <p:sldId id="2147470033" r:id="rId42"/>
    <p:sldId id="2147470046" r:id="rId43"/>
    <p:sldId id="2147470034" r:id="rId44"/>
    <p:sldId id="2147470035" r:id="rId45"/>
    <p:sldId id="2147470036" r:id="rId46"/>
    <p:sldId id="2147470037" r:id="rId47"/>
    <p:sldId id="2147470039" r:id="rId48"/>
    <p:sldId id="2147470038" r:id="rId49"/>
    <p:sldId id="2147470045" r:id="rId50"/>
    <p:sldId id="2147470014" r:id="rId51"/>
    <p:sldId id="2147470047" r:id="rId52"/>
  </p:sldIdLst>
  <p:sldSz cx="12192000" cy="6858000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C1511A2-F5BD-4554-ABC1-60D3AC8CD7FB}">
          <p14:sldIdLst>
            <p14:sldId id="2147469993"/>
            <p14:sldId id="2147469994"/>
            <p14:sldId id="2147469996"/>
          </p14:sldIdLst>
        </p14:section>
        <p14:section name="What we do not cover" id="{94C809D6-97DF-4182-9B91-9F6D1EF66515}">
          <p14:sldIdLst>
            <p14:sldId id="2147470006"/>
            <p14:sldId id="2147470007"/>
            <p14:sldId id="2147470041"/>
            <p14:sldId id="2147470040"/>
            <p14:sldId id="2147470008"/>
          </p14:sldIdLst>
        </p14:section>
        <p14:section name="Purview Customer Key" id="{96A488FF-56AE-400B-AA62-36E79C06A642}">
          <p14:sldIdLst>
            <p14:sldId id="2147470001"/>
            <p14:sldId id="2147470002"/>
            <p14:sldId id="2147470004"/>
            <p14:sldId id="2147470005"/>
            <p14:sldId id="2147470009"/>
            <p14:sldId id="2147470010"/>
            <p14:sldId id="2147470003"/>
            <p14:sldId id="2147470011"/>
            <p14:sldId id="2147470012"/>
            <p14:sldId id="2147470013"/>
            <p14:sldId id="2147470015"/>
            <p14:sldId id="2147470016"/>
            <p14:sldId id="2147470017"/>
            <p14:sldId id="2147470018"/>
            <p14:sldId id="2147470019"/>
            <p14:sldId id="2147470021"/>
            <p14:sldId id="2147470042"/>
          </p14:sldIdLst>
        </p14:section>
        <p14:section name="Implementing Customer Key" id="{B16F8776-A33F-45D0-8752-CFFDB1A1F7E1}">
          <p14:sldIdLst>
            <p14:sldId id="2147470022"/>
            <p14:sldId id="2147470023"/>
            <p14:sldId id="2147470024"/>
            <p14:sldId id="2147470025"/>
            <p14:sldId id="2147470026"/>
            <p14:sldId id="2147470027"/>
            <p14:sldId id="2147470028"/>
            <p14:sldId id="2147470029"/>
            <p14:sldId id="2147470030"/>
            <p14:sldId id="2147470031"/>
            <p14:sldId id="2147470032"/>
            <p14:sldId id="2147470043"/>
          </p14:sldIdLst>
        </p14:section>
        <p14:section name="Data Encryption Policies" id="{8F0F124B-689E-416F-87EF-79FFDFC62A69}">
          <p14:sldIdLst>
            <p14:sldId id="2147470033"/>
            <p14:sldId id="2147470046"/>
            <p14:sldId id="2147470034"/>
            <p14:sldId id="2147470035"/>
            <p14:sldId id="2147470036"/>
            <p14:sldId id="2147470037"/>
            <p14:sldId id="2147470039"/>
            <p14:sldId id="2147470038"/>
            <p14:sldId id="2147470045"/>
          </p14:sldIdLst>
        </p14:section>
        <p14:section name="Resources" id="{DD09DAE6-664D-47DE-9BBA-FE562F4A9D08}">
          <p14:sldIdLst>
            <p14:sldId id="2147470014"/>
            <p14:sldId id="214747004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37BD1"/>
    <a:srgbClr val="59E6FD"/>
    <a:srgbClr val="003867"/>
    <a:srgbClr val="28A8EA"/>
    <a:srgbClr val="253B5D"/>
    <a:srgbClr val="415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DBE477-A6EA-416C-A703-7F6801C4C8C8}" v="229" dt="2022-09-13T15:54:45.4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64" autoAdjust="0"/>
    <p:restoredTop sz="93254" autoAdjust="0"/>
  </p:normalViewPr>
  <p:slideViewPr>
    <p:cSldViewPr snapToGrid="0">
      <p:cViewPr varScale="1">
        <p:scale>
          <a:sx n="86" d="100"/>
          <a:sy n="86" d="100"/>
        </p:scale>
        <p:origin x="40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20DBE477-A6EA-416C-A703-7F6801C4C8C8}"/>
    <pc:docChg chg="undo custSel addSld delSld modSld sldOrd addSection delSection modSection replTag">
      <pc:chgData name="Thomas Stensitzki" userId="75cafe6b-2f2a-469b-85c4-eec3b9c972ba" providerId="ADAL" clId="{20DBE477-A6EA-416C-A703-7F6801C4C8C8}" dt="2022-09-16T08:25:57.558" v="3600" actId="47"/>
      <pc:docMkLst>
        <pc:docMk/>
      </pc:docMkLst>
      <pc:sldChg chg="modSp mod modNotes">
        <pc:chgData name="Thomas Stensitzki" userId="75cafe6b-2f2a-469b-85c4-eec3b9c972ba" providerId="ADAL" clId="{20DBE477-A6EA-416C-A703-7F6801C4C8C8}" dt="2022-08-14T13:18:13.590" v="912" actId="790"/>
        <pc:sldMkLst>
          <pc:docMk/>
          <pc:sldMk cId="1758575945" sldId="2147469993"/>
        </pc:sldMkLst>
        <pc:spChg chg="mod">
          <ac:chgData name="Thomas Stensitzki" userId="75cafe6b-2f2a-469b-85c4-eec3b9c972ba" providerId="ADAL" clId="{20DBE477-A6EA-416C-A703-7F6801C4C8C8}" dt="2022-08-14T13:18:13.567" v="907" actId="790"/>
          <ac:spMkLst>
            <pc:docMk/>
            <pc:sldMk cId="1758575945" sldId="2147469993"/>
            <ac:spMk id="37" creationId="{D61A3FC1-C5E5-EB91-BEDA-7F688D8093D4}"/>
          </ac:spMkLst>
        </pc:spChg>
      </pc:sldChg>
      <pc:sldChg chg="addSp delSp modSp mod modNotes">
        <pc:chgData name="Thomas Stensitzki" userId="75cafe6b-2f2a-469b-85c4-eec3b9c972ba" providerId="ADAL" clId="{20DBE477-A6EA-416C-A703-7F6801C4C8C8}" dt="2022-09-13T15:55:19.425" v="3578" actId="1076"/>
        <pc:sldMkLst>
          <pc:docMk/>
          <pc:sldMk cId="2924642773" sldId="2147469994"/>
        </pc:sldMkLst>
        <pc:spChg chg="mod">
          <ac:chgData name="Thomas Stensitzki" userId="75cafe6b-2f2a-469b-85c4-eec3b9c972ba" providerId="ADAL" clId="{20DBE477-A6EA-416C-A703-7F6801C4C8C8}" dt="2022-08-27T12:07:34.949" v="2193" actId="20577"/>
          <ac:spMkLst>
            <pc:docMk/>
            <pc:sldMk cId="2924642773" sldId="2147469994"/>
            <ac:spMk id="7" creationId="{844C2406-BDEB-79E2-1E9F-2EF156F3EEE9}"/>
          </ac:spMkLst>
        </pc:spChg>
        <pc:spChg chg="add del mod">
          <ac:chgData name="Thomas Stensitzki" userId="75cafe6b-2f2a-469b-85c4-eec3b9c972ba" providerId="ADAL" clId="{20DBE477-A6EA-416C-A703-7F6801C4C8C8}" dt="2022-09-13T15:53:10.011" v="3559" actId="478"/>
          <ac:spMkLst>
            <pc:docMk/>
            <pc:sldMk cId="2924642773" sldId="2147469994"/>
            <ac:spMk id="8" creationId="{36EC970F-A754-1E92-2AA3-09815A353769}"/>
          </ac:spMkLst>
        </pc:spChg>
        <pc:spChg chg="mod">
          <ac:chgData name="Thomas Stensitzki" userId="75cafe6b-2f2a-469b-85c4-eec3b9c972ba" providerId="ADAL" clId="{20DBE477-A6EA-416C-A703-7F6801C4C8C8}" dt="2022-09-13T15:53:11.250" v="3560"/>
          <ac:spMkLst>
            <pc:docMk/>
            <pc:sldMk cId="2924642773" sldId="2147469994"/>
            <ac:spMk id="10" creationId="{0CA1380D-1961-4C03-91FA-1F50293675AD}"/>
          </ac:spMkLst>
        </pc:spChg>
        <pc:spChg chg="mod">
          <ac:chgData name="Thomas Stensitzki" userId="75cafe6b-2f2a-469b-85c4-eec3b9c972ba" providerId="ADAL" clId="{20DBE477-A6EA-416C-A703-7F6801C4C8C8}" dt="2022-08-14T13:18:13.591" v="913" actId="790"/>
          <ac:spMkLst>
            <pc:docMk/>
            <pc:sldMk cId="2924642773" sldId="2147469994"/>
            <ac:spMk id="27" creationId="{8FA1068C-23B7-33A8-C067-C92777069DAE}"/>
          </ac:spMkLst>
        </pc:spChg>
        <pc:grpChg chg="add mod">
          <ac:chgData name="Thomas Stensitzki" userId="75cafe6b-2f2a-469b-85c4-eec3b9c972ba" providerId="ADAL" clId="{20DBE477-A6EA-416C-A703-7F6801C4C8C8}" dt="2022-09-13T15:55:19.425" v="3578" actId="1076"/>
          <ac:grpSpMkLst>
            <pc:docMk/>
            <pc:sldMk cId="2924642773" sldId="2147469994"/>
            <ac:grpSpMk id="9" creationId="{8110077D-6B8F-DB38-A348-6F67F616A3B0}"/>
          </ac:grpSpMkLst>
        </pc:grpChg>
        <pc:picChg chg="mod">
          <ac:chgData name="Thomas Stensitzki" userId="75cafe6b-2f2a-469b-85c4-eec3b9c972ba" providerId="ADAL" clId="{20DBE477-A6EA-416C-A703-7F6801C4C8C8}" dt="2022-09-13T15:55:09.830" v="3577" actId="1076"/>
          <ac:picMkLst>
            <pc:docMk/>
            <pc:sldMk cId="2924642773" sldId="2147469994"/>
            <ac:picMk id="3" creationId="{58BF18B4-FE01-6150-D75E-B882CF1876F9}"/>
          </ac:picMkLst>
        </pc:picChg>
        <pc:picChg chg="mod">
          <ac:chgData name="Thomas Stensitzki" userId="75cafe6b-2f2a-469b-85c4-eec3b9c972ba" providerId="ADAL" clId="{20DBE477-A6EA-416C-A703-7F6801C4C8C8}" dt="2022-09-13T15:53:11.250" v="3560"/>
          <ac:picMkLst>
            <pc:docMk/>
            <pc:sldMk cId="2924642773" sldId="2147469994"/>
            <ac:picMk id="11" creationId="{A677674C-D6F6-A5C0-A16B-EDD5B1E983AA}"/>
          </ac:picMkLst>
        </pc:picChg>
      </pc:sldChg>
      <pc:sldChg chg="modSp del mod modNotes">
        <pc:chgData name="Thomas Stensitzki" userId="75cafe6b-2f2a-469b-85c4-eec3b9c972ba" providerId="ADAL" clId="{20DBE477-A6EA-416C-A703-7F6801C4C8C8}" dt="2022-08-27T12:07:48.356" v="2195" actId="47"/>
        <pc:sldMkLst>
          <pc:docMk/>
          <pc:sldMk cId="711808542" sldId="2147469995"/>
        </pc:sldMkLst>
        <pc:spChg chg="mod">
          <ac:chgData name="Thomas Stensitzki" userId="75cafe6b-2f2a-469b-85c4-eec3b9c972ba" providerId="ADAL" clId="{20DBE477-A6EA-416C-A703-7F6801C4C8C8}" dt="2022-08-14T13:18:13.598" v="920" actId="790"/>
          <ac:spMkLst>
            <pc:docMk/>
            <pc:sldMk cId="711808542" sldId="2147469995"/>
            <ac:spMk id="2" creationId="{C3A68D58-2D4F-3A8E-37D2-0475946446A4}"/>
          </ac:spMkLst>
        </pc:spChg>
        <pc:spChg chg="mod">
          <ac:chgData name="Thomas Stensitzki" userId="75cafe6b-2f2a-469b-85c4-eec3b9c972ba" providerId="ADAL" clId="{20DBE477-A6EA-416C-A703-7F6801C4C8C8}" dt="2022-08-14T13:18:13.598" v="921" actId="790"/>
          <ac:spMkLst>
            <pc:docMk/>
            <pc:sldMk cId="711808542" sldId="2147469995"/>
            <ac:spMk id="3" creationId="{6EBF35AE-4F27-E3CF-39D5-4BDF4542D1F0}"/>
          </ac:spMkLst>
        </pc:spChg>
      </pc:sldChg>
      <pc:sldChg chg="addSp delSp modSp mod modClrScheme modShow chgLayout modNotes">
        <pc:chgData name="Thomas Stensitzki" userId="75cafe6b-2f2a-469b-85c4-eec3b9c972ba" providerId="ADAL" clId="{20DBE477-A6EA-416C-A703-7F6801C4C8C8}" dt="2022-08-27T12:07:46.244" v="2194" actId="729"/>
        <pc:sldMkLst>
          <pc:docMk/>
          <pc:sldMk cId="948289294" sldId="2147469996"/>
        </pc:sldMkLst>
        <pc:spChg chg="add mod ord">
          <ac:chgData name="Thomas Stensitzki" userId="75cafe6b-2f2a-469b-85c4-eec3b9c972ba" providerId="ADAL" clId="{20DBE477-A6EA-416C-A703-7F6801C4C8C8}" dt="2022-08-14T13:18:13.602" v="924" actId="790"/>
          <ac:spMkLst>
            <pc:docMk/>
            <pc:sldMk cId="948289294" sldId="2147469996"/>
            <ac:spMk id="2" creationId="{7062568E-0150-FB2F-4220-AC3F92BCD3B4}"/>
          </ac:spMkLst>
        </pc:spChg>
        <pc:spChg chg="del mod ord">
          <ac:chgData name="Thomas Stensitzki" userId="75cafe6b-2f2a-469b-85c4-eec3b9c972ba" providerId="ADAL" clId="{20DBE477-A6EA-416C-A703-7F6801C4C8C8}" dt="2022-08-14T12:51:05.507" v="321" actId="700"/>
          <ac:spMkLst>
            <pc:docMk/>
            <pc:sldMk cId="948289294" sldId="2147469996"/>
            <ac:spMk id="3" creationId="{2030471A-DBA9-DA7F-E315-596A99F2774D}"/>
          </ac:spMkLst>
        </pc:spChg>
        <pc:spChg chg="del">
          <ac:chgData name="Thomas Stensitzki" userId="75cafe6b-2f2a-469b-85c4-eec3b9c972ba" providerId="ADAL" clId="{20DBE477-A6EA-416C-A703-7F6801C4C8C8}" dt="2022-08-14T12:51:05.507" v="321" actId="700"/>
          <ac:spMkLst>
            <pc:docMk/>
            <pc:sldMk cId="948289294" sldId="2147469996"/>
            <ac:spMk id="4" creationId="{713B3D8E-0E41-9A95-471C-B34221FD7A77}"/>
          </ac:spMkLst>
        </pc:spChg>
        <pc:spChg chg="add mod ord">
          <ac:chgData name="Thomas Stensitzki" userId="75cafe6b-2f2a-469b-85c4-eec3b9c972ba" providerId="ADAL" clId="{20DBE477-A6EA-416C-A703-7F6801C4C8C8}" dt="2022-08-14T13:23:53.536" v="1130" actId="20577"/>
          <ac:spMkLst>
            <pc:docMk/>
            <pc:sldMk cId="948289294" sldId="2147469996"/>
            <ac:spMk id="5" creationId="{1181413E-174B-8B98-21AF-CBF3D26D9952}"/>
          </ac:spMkLst>
        </pc:spChg>
      </pc:sldChg>
      <pc:sldChg chg="addSp delSp modSp del mod ord modClrScheme chgLayout modNotes">
        <pc:chgData name="Thomas Stensitzki" userId="75cafe6b-2f2a-469b-85c4-eec3b9c972ba" providerId="ADAL" clId="{20DBE477-A6EA-416C-A703-7F6801C4C8C8}" dt="2022-09-16T08:25:57.558" v="3600" actId="47"/>
        <pc:sldMkLst>
          <pc:docMk/>
          <pc:sldMk cId="3524665977" sldId="2147469997"/>
        </pc:sldMkLst>
        <pc:spChg chg="del">
          <ac:chgData name="Thomas Stensitzki" userId="75cafe6b-2f2a-469b-85c4-eec3b9c972ba" providerId="ADAL" clId="{20DBE477-A6EA-416C-A703-7F6801C4C8C8}" dt="2022-07-29T10:20:44.101" v="94" actId="700"/>
          <ac:spMkLst>
            <pc:docMk/>
            <pc:sldMk cId="3524665977" sldId="2147469997"/>
            <ac:spMk id="2" creationId="{07EB9C51-95C7-6A34-C30B-720A07DA14F6}"/>
          </ac:spMkLst>
        </pc:spChg>
        <pc:spChg chg="del mod ord">
          <ac:chgData name="Thomas Stensitzki" userId="75cafe6b-2f2a-469b-85c4-eec3b9c972ba" providerId="ADAL" clId="{20DBE477-A6EA-416C-A703-7F6801C4C8C8}" dt="2022-07-29T10:20:44.101" v="94" actId="700"/>
          <ac:spMkLst>
            <pc:docMk/>
            <pc:sldMk cId="3524665977" sldId="2147469997"/>
            <ac:spMk id="3" creationId="{BB3DD8E4-8209-E749-2AB8-D52C20AAA74D}"/>
          </ac:spMkLst>
        </pc:spChg>
        <pc:spChg chg="del mod ord">
          <ac:chgData name="Thomas Stensitzki" userId="75cafe6b-2f2a-469b-85c4-eec3b9c972ba" providerId="ADAL" clId="{20DBE477-A6EA-416C-A703-7F6801C4C8C8}" dt="2022-07-29T10:20:44.101" v="94" actId="700"/>
          <ac:spMkLst>
            <pc:docMk/>
            <pc:sldMk cId="3524665977" sldId="2147469997"/>
            <ac:spMk id="4" creationId="{262C2AFA-F02C-AE7D-E6B7-8E98C093ED00}"/>
          </ac:spMkLst>
        </pc:spChg>
        <pc:spChg chg="add del mod ord">
          <ac:chgData name="Thomas Stensitzki" userId="75cafe6b-2f2a-469b-85c4-eec3b9c972ba" providerId="ADAL" clId="{20DBE477-A6EA-416C-A703-7F6801C4C8C8}" dt="2022-07-29T10:20:51.567" v="95" actId="700"/>
          <ac:spMkLst>
            <pc:docMk/>
            <pc:sldMk cId="3524665977" sldId="2147469997"/>
            <ac:spMk id="5" creationId="{225DBF4E-65FA-36DE-3585-F066C03D3886}"/>
          </ac:spMkLst>
        </pc:spChg>
        <pc:spChg chg="add del mod ord">
          <ac:chgData name="Thomas Stensitzki" userId="75cafe6b-2f2a-469b-85c4-eec3b9c972ba" providerId="ADAL" clId="{20DBE477-A6EA-416C-A703-7F6801C4C8C8}" dt="2022-07-29T10:20:51.567" v="95" actId="700"/>
          <ac:spMkLst>
            <pc:docMk/>
            <pc:sldMk cId="3524665977" sldId="2147469997"/>
            <ac:spMk id="6" creationId="{228170E9-3A4C-7232-6865-2B8848BF8659}"/>
          </ac:spMkLst>
        </pc:spChg>
        <pc:spChg chg="add del mod ord">
          <ac:chgData name="Thomas Stensitzki" userId="75cafe6b-2f2a-469b-85c4-eec3b9c972ba" providerId="ADAL" clId="{20DBE477-A6EA-416C-A703-7F6801C4C8C8}" dt="2022-07-29T10:20:51.567" v="95" actId="700"/>
          <ac:spMkLst>
            <pc:docMk/>
            <pc:sldMk cId="3524665977" sldId="2147469997"/>
            <ac:spMk id="7" creationId="{E23D0298-4FE7-3CBC-2D86-09ADDF444681}"/>
          </ac:spMkLst>
        </pc:spChg>
        <pc:spChg chg="add del mod ord">
          <ac:chgData name="Thomas Stensitzki" userId="75cafe6b-2f2a-469b-85c4-eec3b9c972ba" providerId="ADAL" clId="{20DBE477-A6EA-416C-A703-7F6801C4C8C8}" dt="2022-08-14T12:52:31.061" v="480" actId="478"/>
          <ac:spMkLst>
            <pc:docMk/>
            <pc:sldMk cId="3524665977" sldId="2147469997"/>
            <ac:spMk id="8" creationId="{414D443D-EAB9-308E-B3FE-0FA11BFF2DFE}"/>
          </ac:spMkLst>
        </pc:spChg>
        <pc:spChg chg="add mod ord">
          <ac:chgData name="Thomas Stensitzki" userId="75cafe6b-2f2a-469b-85c4-eec3b9c972ba" providerId="ADAL" clId="{20DBE477-A6EA-416C-A703-7F6801C4C8C8}" dt="2022-08-14T13:18:13.637" v="950" actId="790"/>
          <ac:spMkLst>
            <pc:docMk/>
            <pc:sldMk cId="3524665977" sldId="2147469997"/>
            <ac:spMk id="9" creationId="{880DC17F-8BE5-17B7-D070-1C07D3FE824C}"/>
          </ac:spMkLst>
        </pc:spChg>
        <pc:spChg chg="add mod ord">
          <ac:chgData name="Thomas Stensitzki" userId="75cafe6b-2f2a-469b-85c4-eec3b9c972ba" providerId="ADAL" clId="{20DBE477-A6EA-416C-A703-7F6801C4C8C8}" dt="2022-08-14T13:18:13.638" v="951" actId="790"/>
          <ac:spMkLst>
            <pc:docMk/>
            <pc:sldMk cId="3524665977" sldId="2147469997"/>
            <ac:spMk id="10" creationId="{3AE653EA-11EC-52DB-4FCA-D74DB20E72B7}"/>
          </ac:spMkLst>
        </pc:spChg>
      </pc:sldChg>
      <pc:sldChg chg="addSp delSp modSp del mod modClrScheme chgLayout modNotes">
        <pc:chgData name="Thomas Stensitzki" userId="75cafe6b-2f2a-469b-85c4-eec3b9c972ba" providerId="ADAL" clId="{20DBE477-A6EA-416C-A703-7F6801C4C8C8}" dt="2022-09-16T08:25:57.558" v="3600" actId="47"/>
        <pc:sldMkLst>
          <pc:docMk/>
          <pc:sldMk cId="4152082236" sldId="2147469998"/>
        </pc:sldMkLst>
        <pc:spChg chg="del mo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2" creationId="{4A9CDD81-305A-69CA-D2B7-CB68FCE153F1}"/>
          </ac:spMkLst>
        </pc:spChg>
        <pc:spChg chg="del mod or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3" creationId="{E7E05B39-2F49-C591-4372-7FFD3B181E4F}"/>
          </ac:spMkLst>
        </pc:spChg>
        <pc:spChg chg="del mod or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4" creationId="{4F3C9FD2-E8C9-CADD-158B-73A376034CD4}"/>
          </ac:spMkLst>
        </pc:spChg>
        <pc:spChg chg="add mod or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5" creationId="{CFC36196-0E5C-5B44-4F00-423D2463B000}"/>
          </ac:spMkLst>
        </pc:spChg>
        <pc:spChg chg="add mod or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6" creationId="{97DB6CE1-B7F1-D62B-5902-37A6590A189E}"/>
          </ac:spMkLst>
        </pc:spChg>
        <pc:spChg chg="add mod ord">
          <ac:chgData name="Thomas Stensitzki" userId="75cafe6b-2f2a-469b-85c4-eec3b9c972ba" providerId="ADAL" clId="{20DBE477-A6EA-416C-A703-7F6801C4C8C8}" dt="2022-09-03T14:48:55.820" v="2873" actId="700"/>
          <ac:spMkLst>
            <pc:docMk/>
            <pc:sldMk cId="4152082236" sldId="2147469998"/>
            <ac:spMk id="7" creationId="{D5B3712F-4326-FED3-92C6-BD5F1E4B38DF}"/>
          </ac:spMkLst>
        </pc:spChg>
      </pc:sldChg>
      <pc:sldChg chg="addSp delSp modSp del mod modNotes">
        <pc:chgData name="Thomas Stensitzki" userId="75cafe6b-2f2a-469b-85c4-eec3b9c972ba" providerId="ADAL" clId="{20DBE477-A6EA-416C-A703-7F6801C4C8C8}" dt="2022-09-16T08:25:57.558" v="3600" actId="47"/>
        <pc:sldMkLst>
          <pc:docMk/>
          <pc:sldMk cId="1002109060" sldId="2147469999"/>
        </pc:sldMkLst>
        <pc:spChg chg="mod">
          <ac:chgData name="Thomas Stensitzki" userId="75cafe6b-2f2a-469b-85c4-eec3b9c972ba" providerId="ADAL" clId="{20DBE477-A6EA-416C-A703-7F6801C4C8C8}" dt="2022-08-14T13:18:13.736" v="1039" actId="790"/>
          <ac:spMkLst>
            <pc:docMk/>
            <pc:sldMk cId="1002109060" sldId="2147469999"/>
            <ac:spMk id="2" creationId="{D031B228-45E7-E9AE-3584-1EF02C0BF237}"/>
          </ac:spMkLst>
        </pc:spChg>
        <pc:spChg chg="mod">
          <ac:chgData name="Thomas Stensitzki" userId="75cafe6b-2f2a-469b-85c4-eec3b9c972ba" providerId="ADAL" clId="{20DBE477-A6EA-416C-A703-7F6801C4C8C8}" dt="2022-08-14T13:18:13.736" v="1040" actId="790"/>
          <ac:spMkLst>
            <pc:docMk/>
            <pc:sldMk cId="1002109060" sldId="2147469999"/>
            <ac:spMk id="6" creationId="{A54D0712-3C9F-A435-2D37-4C8A80C5A7EF}"/>
          </ac:spMkLst>
        </pc:spChg>
        <pc:spChg chg="mod">
          <ac:chgData name="Thomas Stensitzki" userId="75cafe6b-2f2a-469b-85c4-eec3b9c972ba" providerId="ADAL" clId="{20DBE477-A6EA-416C-A703-7F6801C4C8C8}" dt="2022-09-13T15:54:11.143" v="3564"/>
          <ac:spMkLst>
            <pc:docMk/>
            <pc:sldMk cId="1002109060" sldId="2147469999"/>
            <ac:spMk id="9" creationId="{08338E31-5B8C-897F-EAAB-71118ECADF64}"/>
          </ac:spMkLst>
        </pc:spChg>
        <pc:grpChg chg="add del mod">
          <ac:chgData name="Thomas Stensitzki" userId="75cafe6b-2f2a-469b-85c4-eec3b9c972ba" providerId="ADAL" clId="{20DBE477-A6EA-416C-A703-7F6801C4C8C8}" dt="2022-09-13T15:54:21.462" v="3567"/>
          <ac:grpSpMkLst>
            <pc:docMk/>
            <pc:sldMk cId="1002109060" sldId="2147469999"/>
            <ac:grpSpMk id="8" creationId="{805862A9-8293-972B-4B2C-20DD14C8D888}"/>
          </ac:grpSpMkLst>
        </pc:grpChg>
        <pc:picChg chg="mod">
          <ac:chgData name="Thomas Stensitzki" userId="75cafe6b-2f2a-469b-85c4-eec3b9c972ba" providerId="ADAL" clId="{20DBE477-A6EA-416C-A703-7F6801C4C8C8}" dt="2022-09-13T15:54:11.143" v="3564"/>
          <ac:picMkLst>
            <pc:docMk/>
            <pc:sldMk cId="1002109060" sldId="2147469999"/>
            <ac:picMk id="10" creationId="{1964DD0C-A885-4E16-E18C-15ADC22F6F37}"/>
          </ac:picMkLst>
        </pc:picChg>
      </pc:sldChg>
      <pc:sldChg chg="modSp new del mod modNotes">
        <pc:chgData name="Thomas Stensitzki" userId="75cafe6b-2f2a-469b-85c4-eec3b9c972ba" providerId="ADAL" clId="{20DBE477-A6EA-416C-A703-7F6801C4C8C8}" dt="2022-09-16T08:25:57.558" v="3600" actId="47"/>
        <pc:sldMkLst>
          <pc:docMk/>
          <pc:sldMk cId="3390429773" sldId="2147470000"/>
        </pc:sldMkLst>
        <pc:spChg chg="mod">
          <ac:chgData name="Thomas Stensitzki" userId="75cafe6b-2f2a-469b-85c4-eec3b9c972ba" providerId="ADAL" clId="{20DBE477-A6EA-416C-A703-7F6801C4C8C8}" dt="2022-08-14T13:18:13.738" v="1043" actId="790"/>
          <ac:spMkLst>
            <pc:docMk/>
            <pc:sldMk cId="3390429773" sldId="2147470000"/>
            <ac:spMk id="2" creationId="{B9518801-F28A-CAEE-3AE0-FE788E21932A}"/>
          </ac:spMkLst>
        </pc:spChg>
        <pc:spChg chg="mod">
          <ac:chgData name="Thomas Stensitzki" userId="75cafe6b-2f2a-469b-85c4-eec3b9c972ba" providerId="ADAL" clId="{20DBE477-A6EA-416C-A703-7F6801C4C8C8}" dt="2022-08-14T13:18:13.740" v="1044" actId="790"/>
          <ac:spMkLst>
            <pc:docMk/>
            <pc:sldMk cId="3390429773" sldId="2147470000"/>
            <ac:spMk id="3" creationId="{5402FB0C-E920-9B3A-74C1-B167E4C1A08D}"/>
          </ac:spMkLst>
        </pc:spChg>
        <pc:spChg chg="mod">
          <ac:chgData name="Thomas Stensitzki" userId="75cafe6b-2f2a-469b-85c4-eec3b9c972ba" providerId="ADAL" clId="{20DBE477-A6EA-416C-A703-7F6801C4C8C8}" dt="2022-08-14T13:18:13.741" v="1045" actId="790"/>
          <ac:spMkLst>
            <pc:docMk/>
            <pc:sldMk cId="3390429773" sldId="2147470000"/>
            <ac:spMk id="4" creationId="{6EC612B2-B0EF-5D54-2C3A-B31D4D27666B}"/>
          </ac:spMkLst>
        </pc:spChg>
      </pc:sldChg>
      <pc:sldChg chg="addSp delSp modSp new mod modClrScheme chgLayout modNotes">
        <pc:chgData name="Thomas Stensitzki" userId="75cafe6b-2f2a-469b-85c4-eec3b9c972ba" providerId="ADAL" clId="{20DBE477-A6EA-416C-A703-7F6801C4C8C8}" dt="2022-08-14T13:24:10.531" v="1176" actId="20577"/>
        <pc:sldMkLst>
          <pc:docMk/>
          <pc:sldMk cId="175671832" sldId="2147470001"/>
        </pc:sldMkLst>
        <pc:spChg chg="del mod ord">
          <ac:chgData name="Thomas Stensitzki" userId="75cafe6b-2f2a-469b-85c4-eec3b9c972ba" providerId="ADAL" clId="{20DBE477-A6EA-416C-A703-7F6801C4C8C8}" dt="2022-07-29T10:22:13.037" v="97" actId="700"/>
          <ac:spMkLst>
            <pc:docMk/>
            <pc:sldMk cId="175671832" sldId="2147470001"/>
            <ac:spMk id="2" creationId="{C5AFB22E-986D-8843-A236-B6B46A9C578E}"/>
          </ac:spMkLst>
        </pc:spChg>
        <pc:spChg chg="del mod ord">
          <ac:chgData name="Thomas Stensitzki" userId="75cafe6b-2f2a-469b-85c4-eec3b9c972ba" providerId="ADAL" clId="{20DBE477-A6EA-416C-A703-7F6801C4C8C8}" dt="2022-07-29T10:22:13.037" v="97" actId="700"/>
          <ac:spMkLst>
            <pc:docMk/>
            <pc:sldMk cId="175671832" sldId="2147470001"/>
            <ac:spMk id="3" creationId="{019EEB17-0BA9-BE17-A850-EF905B05EAFC}"/>
          </ac:spMkLst>
        </pc:spChg>
        <pc:spChg chg="del mod ord">
          <ac:chgData name="Thomas Stensitzki" userId="75cafe6b-2f2a-469b-85c4-eec3b9c972ba" providerId="ADAL" clId="{20DBE477-A6EA-416C-A703-7F6801C4C8C8}" dt="2022-07-29T10:22:13.037" v="97" actId="700"/>
          <ac:spMkLst>
            <pc:docMk/>
            <pc:sldMk cId="175671832" sldId="2147470001"/>
            <ac:spMk id="4" creationId="{AE63A98E-BAEB-9D75-8373-D432D2059DF9}"/>
          </ac:spMkLst>
        </pc:spChg>
        <pc:spChg chg="add del mod ord">
          <ac:chgData name="Thomas Stensitzki" userId="75cafe6b-2f2a-469b-85c4-eec3b9c972ba" providerId="ADAL" clId="{20DBE477-A6EA-416C-A703-7F6801C4C8C8}" dt="2022-07-29T10:22:19.092" v="98" actId="478"/>
          <ac:spMkLst>
            <pc:docMk/>
            <pc:sldMk cId="175671832" sldId="2147470001"/>
            <ac:spMk id="5" creationId="{71F3523B-7880-7520-8F75-C47F3A6D4B85}"/>
          </ac:spMkLst>
        </pc:spChg>
        <pc:spChg chg="add mod ord">
          <ac:chgData name="Thomas Stensitzki" userId="75cafe6b-2f2a-469b-85c4-eec3b9c972ba" providerId="ADAL" clId="{20DBE477-A6EA-416C-A703-7F6801C4C8C8}" dt="2022-08-14T13:24:10.531" v="1176" actId="20577"/>
          <ac:spMkLst>
            <pc:docMk/>
            <pc:sldMk cId="175671832" sldId="2147470001"/>
            <ac:spMk id="6" creationId="{1BD4A6B4-6368-C2DB-40F8-1759652DE948}"/>
          </ac:spMkLst>
        </pc:spChg>
        <pc:spChg chg="add mod ord">
          <ac:chgData name="Thomas Stensitzki" userId="75cafe6b-2f2a-469b-85c4-eec3b9c972ba" providerId="ADAL" clId="{20DBE477-A6EA-416C-A703-7F6801C4C8C8}" dt="2022-08-14T13:18:13.642" v="955" actId="790"/>
          <ac:spMkLst>
            <pc:docMk/>
            <pc:sldMk cId="175671832" sldId="2147470001"/>
            <ac:spMk id="7" creationId="{0915B47D-7832-D55B-8B70-7951123E3AC6}"/>
          </ac:spMkLst>
        </pc:spChg>
      </pc:sldChg>
      <pc:sldChg chg="addSp delSp modSp new mod modClrScheme modAnim chgLayout modNotes">
        <pc:chgData name="Thomas Stensitzki" userId="75cafe6b-2f2a-469b-85c4-eec3b9c972ba" providerId="ADAL" clId="{20DBE477-A6EA-416C-A703-7F6801C4C8C8}" dt="2022-09-09T07:56:15.719" v="3525"/>
        <pc:sldMkLst>
          <pc:docMk/>
          <pc:sldMk cId="77245910" sldId="2147470002"/>
        </pc:sldMkLst>
        <pc:spChg chg="del">
          <ac:chgData name="Thomas Stensitzki" userId="75cafe6b-2f2a-469b-85c4-eec3b9c972ba" providerId="ADAL" clId="{20DBE477-A6EA-416C-A703-7F6801C4C8C8}" dt="2022-07-29T10:22:47.830" v="131" actId="700"/>
          <ac:spMkLst>
            <pc:docMk/>
            <pc:sldMk cId="77245910" sldId="2147470002"/>
            <ac:spMk id="2" creationId="{99270C77-D870-A254-2B07-0650F093EABA}"/>
          </ac:spMkLst>
        </pc:spChg>
        <pc:spChg chg="del mod ord">
          <ac:chgData name="Thomas Stensitzki" userId="75cafe6b-2f2a-469b-85c4-eec3b9c972ba" providerId="ADAL" clId="{20DBE477-A6EA-416C-A703-7F6801C4C8C8}" dt="2022-07-29T10:22:47.830" v="131" actId="700"/>
          <ac:spMkLst>
            <pc:docMk/>
            <pc:sldMk cId="77245910" sldId="2147470002"/>
            <ac:spMk id="3" creationId="{6F727381-2FE8-73F8-F0DB-2D075885A013}"/>
          </ac:spMkLst>
        </pc:spChg>
        <pc:spChg chg="del">
          <ac:chgData name="Thomas Stensitzki" userId="75cafe6b-2f2a-469b-85c4-eec3b9c972ba" providerId="ADAL" clId="{20DBE477-A6EA-416C-A703-7F6801C4C8C8}" dt="2022-07-29T10:22:47.830" v="131" actId="700"/>
          <ac:spMkLst>
            <pc:docMk/>
            <pc:sldMk cId="77245910" sldId="2147470002"/>
            <ac:spMk id="4" creationId="{78233964-3565-A1EB-2CA7-29AB7595153F}"/>
          </ac:spMkLst>
        </pc:spChg>
        <pc:spChg chg="add mod ord">
          <ac:chgData name="Thomas Stensitzki" userId="75cafe6b-2f2a-469b-85c4-eec3b9c972ba" providerId="ADAL" clId="{20DBE477-A6EA-416C-A703-7F6801C4C8C8}" dt="2022-09-03T14:30:50.744" v="2689" actId="20577"/>
          <ac:spMkLst>
            <pc:docMk/>
            <pc:sldMk cId="77245910" sldId="2147470002"/>
            <ac:spMk id="5" creationId="{CDDFA40F-9C3A-9B97-D35C-8884C5FE0C69}"/>
          </ac:spMkLst>
        </pc:spChg>
        <pc:spChg chg="add mod ord">
          <ac:chgData name="Thomas Stensitzki" userId="75cafe6b-2f2a-469b-85c4-eec3b9c972ba" providerId="ADAL" clId="{20DBE477-A6EA-416C-A703-7F6801C4C8C8}" dt="2022-09-03T14:31:24.030" v="2708" actId="6549"/>
          <ac:spMkLst>
            <pc:docMk/>
            <pc:sldMk cId="77245910" sldId="2147470002"/>
            <ac:spMk id="6" creationId="{E33EC28F-4A0C-22BE-BC2B-30336EF36379}"/>
          </ac:spMkLst>
        </pc:spChg>
      </pc:sldChg>
      <pc:sldChg chg="addSp delSp modSp new mod ord modClrScheme modAnim chgLayout modNotes">
        <pc:chgData name="Thomas Stensitzki" userId="75cafe6b-2f2a-469b-85c4-eec3b9c972ba" providerId="ADAL" clId="{20DBE477-A6EA-416C-A703-7F6801C4C8C8}" dt="2022-09-03T14:34:41.157" v="2745" actId="207"/>
        <pc:sldMkLst>
          <pc:docMk/>
          <pc:sldMk cId="2371320098" sldId="2147470003"/>
        </pc:sldMkLst>
        <pc:spChg chg="del mod ord">
          <ac:chgData name="Thomas Stensitzki" userId="75cafe6b-2f2a-469b-85c4-eec3b9c972ba" providerId="ADAL" clId="{20DBE477-A6EA-416C-A703-7F6801C4C8C8}" dt="2022-07-29T10:25:31.456" v="278" actId="700"/>
          <ac:spMkLst>
            <pc:docMk/>
            <pc:sldMk cId="2371320098" sldId="2147470003"/>
            <ac:spMk id="2" creationId="{934E8DD1-143F-E188-04AD-54BF6FDE8BAC}"/>
          </ac:spMkLst>
        </pc:spChg>
        <pc:spChg chg="del">
          <ac:chgData name="Thomas Stensitzki" userId="75cafe6b-2f2a-469b-85c4-eec3b9c972ba" providerId="ADAL" clId="{20DBE477-A6EA-416C-A703-7F6801C4C8C8}" dt="2022-07-29T10:25:31.456" v="278" actId="700"/>
          <ac:spMkLst>
            <pc:docMk/>
            <pc:sldMk cId="2371320098" sldId="2147470003"/>
            <ac:spMk id="3" creationId="{49A9F8C1-792F-74E7-CF79-50C37B7CAAF1}"/>
          </ac:spMkLst>
        </pc:spChg>
        <pc:spChg chg="add mod ord">
          <ac:chgData name="Thomas Stensitzki" userId="75cafe6b-2f2a-469b-85c4-eec3b9c972ba" providerId="ADAL" clId="{20DBE477-A6EA-416C-A703-7F6801C4C8C8}" dt="2022-08-14T13:18:13.670" v="978" actId="790"/>
          <ac:spMkLst>
            <pc:docMk/>
            <pc:sldMk cId="2371320098" sldId="2147470003"/>
            <ac:spMk id="4" creationId="{090D2383-2E19-EC3C-70D0-19125067A8E4}"/>
          </ac:spMkLst>
        </pc:spChg>
        <pc:spChg chg="add mod">
          <ac:chgData name="Thomas Stensitzki" userId="75cafe6b-2f2a-469b-85c4-eec3b9c972ba" providerId="ADAL" clId="{20DBE477-A6EA-416C-A703-7F6801C4C8C8}" dt="2022-09-03T14:34:03.249" v="2743" actId="208"/>
          <ac:spMkLst>
            <pc:docMk/>
            <pc:sldMk cId="2371320098" sldId="2147470003"/>
            <ac:spMk id="7" creationId="{6E208712-2791-67F2-E331-0752AE042F00}"/>
          </ac:spMkLst>
        </pc:spChg>
        <pc:spChg chg="add mod">
          <ac:chgData name="Thomas Stensitzki" userId="75cafe6b-2f2a-469b-85c4-eec3b9c972ba" providerId="ADAL" clId="{20DBE477-A6EA-416C-A703-7F6801C4C8C8}" dt="2022-09-03T14:33:59.594" v="2742" actId="208"/>
          <ac:spMkLst>
            <pc:docMk/>
            <pc:sldMk cId="2371320098" sldId="2147470003"/>
            <ac:spMk id="8" creationId="{6102BE6D-623C-424D-ECE0-137D9F0659F5}"/>
          </ac:spMkLst>
        </pc:spChg>
        <pc:spChg chg="add mod">
          <ac:chgData name="Thomas Stensitzki" userId="75cafe6b-2f2a-469b-85c4-eec3b9c972ba" providerId="ADAL" clId="{20DBE477-A6EA-416C-A703-7F6801C4C8C8}" dt="2022-08-14T13:18:13.672" v="981" actId="790"/>
          <ac:spMkLst>
            <pc:docMk/>
            <pc:sldMk cId="2371320098" sldId="2147470003"/>
            <ac:spMk id="9" creationId="{538FA363-6892-CC52-C782-7E4726C863AD}"/>
          </ac:spMkLst>
        </pc:spChg>
        <pc:spChg chg="add mod">
          <ac:chgData name="Thomas Stensitzki" userId="75cafe6b-2f2a-469b-85c4-eec3b9c972ba" providerId="ADAL" clId="{20DBE477-A6EA-416C-A703-7F6801C4C8C8}" dt="2022-09-03T14:34:41.157" v="2745" actId="207"/>
          <ac:spMkLst>
            <pc:docMk/>
            <pc:sldMk cId="2371320098" sldId="2147470003"/>
            <ac:spMk id="10" creationId="{205879AD-4F6B-DFEF-4347-AF4227D1867E}"/>
          </ac:spMkLst>
        </pc:spChg>
        <pc:picChg chg="add mod">
          <ac:chgData name="Thomas Stensitzki" userId="75cafe6b-2f2a-469b-85c4-eec3b9c972ba" providerId="ADAL" clId="{20DBE477-A6EA-416C-A703-7F6801C4C8C8}" dt="2022-07-29T10:25:59.203" v="288"/>
          <ac:picMkLst>
            <pc:docMk/>
            <pc:sldMk cId="2371320098" sldId="2147470003"/>
            <ac:picMk id="5" creationId="{01BA14E3-5D0F-4753-6337-6898C2FC928F}"/>
          </ac:picMkLst>
        </pc:picChg>
        <pc:picChg chg="add mod">
          <ac:chgData name="Thomas Stensitzki" userId="75cafe6b-2f2a-469b-85c4-eec3b9c972ba" providerId="ADAL" clId="{20DBE477-A6EA-416C-A703-7F6801C4C8C8}" dt="2022-07-29T10:25:59.203" v="288"/>
          <ac:picMkLst>
            <pc:docMk/>
            <pc:sldMk cId="2371320098" sldId="2147470003"/>
            <ac:picMk id="6" creationId="{83A25702-ECAE-4F28-70A9-D9777CC1C964}"/>
          </ac:picMkLst>
        </pc:picChg>
      </pc:sldChg>
      <pc:sldChg chg="addSp delSp modSp new mod modClrScheme modAnim chgLayout modNotes">
        <pc:chgData name="Thomas Stensitzki" userId="75cafe6b-2f2a-469b-85c4-eec3b9c972ba" providerId="ADAL" clId="{20DBE477-A6EA-416C-A703-7F6801C4C8C8}" dt="2022-09-09T07:56:27.434" v="3527"/>
        <pc:sldMkLst>
          <pc:docMk/>
          <pc:sldMk cId="3983048561" sldId="2147470004"/>
        </pc:sldMkLst>
        <pc:spChg chg="del mod ord">
          <ac:chgData name="Thomas Stensitzki" userId="75cafe6b-2f2a-469b-85c4-eec3b9c972ba" providerId="ADAL" clId="{20DBE477-A6EA-416C-A703-7F6801C4C8C8}" dt="2022-07-29T10:26:24.189" v="290" actId="700"/>
          <ac:spMkLst>
            <pc:docMk/>
            <pc:sldMk cId="3983048561" sldId="2147470004"/>
            <ac:spMk id="2" creationId="{E8E4D8D8-82F0-A147-0E60-763E317E1F1E}"/>
          </ac:spMkLst>
        </pc:spChg>
        <pc:spChg chg="add mod ord">
          <ac:chgData name="Thomas Stensitzki" userId="75cafe6b-2f2a-469b-85c4-eec3b9c972ba" providerId="ADAL" clId="{20DBE477-A6EA-416C-A703-7F6801C4C8C8}" dt="2022-08-14T13:18:13.649" v="962" actId="790"/>
          <ac:spMkLst>
            <pc:docMk/>
            <pc:sldMk cId="3983048561" sldId="2147470004"/>
            <ac:spMk id="3" creationId="{EE3D0C6B-B2AD-CB7B-748B-94DC3DAE6CD0}"/>
          </ac:spMkLst>
        </pc:spChg>
        <pc:spChg chg="add mod ord">
          <ac:chgData name="Thomas Stensitzki" userId="75cafe6b-2f2a-469b-85c4-eec3b9c972ba" providerId="ADAL" clId="{20DBE477-A6EA-416C-A703-7F6801C4C8C8}" dt="2022-09-05T17:14:07.946" v="2910" actId="113"/>
          <ac:spMkLst>
            <pc:docMk/>
            <pc:sldMk cId="3983048561" sldId="2147470004"/>
            <ac:spMk id="4" creationId="{412EE92D-E893-8C04-1CA3-92929AEAAD80}"/>
          </ac:spMkLst>
        </pc:spChg>
      </pc:sldChg>
      <pc:sldChg chg="modSp add mod modAnim modNotes">
        <pc:chgData name="Thomas Stensitzki" userId="75cafe6b-2f2a-469b-85c4-eec3b9c972ba" providerId="ADAL" clId="{20DBE477-A6EA-416C-A703-7F6801C4C8C8}" dt="2022-09-09T07:57:39.021" v="3529"/>
        <pc:sldMkLst>
          <pc:docMk/>
          <pc:sldMk cId="2806907330" sldId="2147470005"/>
        </pc:sldMkLst>
        <pc:spChg chg="mod">
          <ac:chgData name="Thomas Stensitzki" userId="75cafe6b-2f2a-469b-85c4-eec3b9c972ba" providerId="ADAL" clId="{20DBE477-A6EA-416C-A703-7F6801C4C8C8}" dt="2022-08-14T13:18:13.655" v="966" actId="790"/>
          <ac:spMkLst>
            <pc:docMk/>
            <pc:sldMk cId="2806907330" sldId="2147470005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3T14:32:42.598" v="2715" actId="6549"/>
          <ac:spMkLst>
            <pc:docMk/>
            <pc:sldMk cId="2806907330" sldId="2147470005"/>
            <ac:spMk id="4" creationId="{412EE92D-E893-8C04-1CA3-92929AEAAD80}"/>
          </ac:spMkLst>
        </pc:spChg>
      </pc:sldChg>
      <pc:sldChg chg="modSp add mod ord modNotes">
        <pc:chgData name="Thomas Stensitzki" userId="75cafe6b-2f2a-469b-85c4-eec3b9c972ba" providerId="ADAL" clId="{20DBE477-A6EA-416C-A703-7F6801C4C8C8}" dt="2022-09-03T14:15:20.406" v="2652" actId="20577"/>
        <pc:sldMkLst>
          <pc:docMk/>
          <pc:sldMk cId="4148786112" sldId="2147470006"/>
        </pc:sldMkLst>
        <pc:spChg chg="mod">
          <ac:chgData name="Thomas Stensitzki" userId="75cafe6b-2f2a-469b-85c4-eec3b9c972ba" providerId="ADAL" clId="{20DBE477-A6EA-416C-A703-7F6801C4C8C8}" dt="2022-08-14T13:18:13.606" v="928" actId="790"/>
          <ac:spMkLst>
            <pc:docMk/>
            <pc:sldMk cId="4148786112" sldId="2147470006"/>
            <ac:spMk id="6" creationId="{1BD4A6B4-6368-C2DB-40F8-1759652DE948}"/>
          </ac:spMkLst>
        </pc:spChg>
        <pc:spChg chg="mod">
          <ac:chgData name="Thomas Stensitzki" userId="75cafe6b-2f2a-469b-85c4-eec3b9c972ba" providerId="ADAL" clId="{20DBE477-A6EA-416C-A703-7F6801C4C8C8}" dt="2022-09-03T14:15:20.406" v="2652" actId="20577"/>
          <ac:spMkLst>
            <pc:docMk/>
            <pc:sldMk cId="4148786112" sldId="2147470006"/>
            <ac:spMk id="7" creationId="{0915B47D-7832-D55B-8B70-7951123E3AC6}"/>
          </ac:spMkLst>
        </pc:spChg>
      </pc:sldChg>
      <pc:sldChg chg="addSp delSp modSp new mod modClrScheme delAnim modAnim chgLayout modNotes">
        <pc:chgData name="Thomas Stensitzki" userId="75cafe6b-2f2a-469b-85c4-eec3b9c972ba" providerId="ADAL" clId="{20DBE477-A6EA-416C-A703-7F6801C4C8C8}" dt="2022-09-09T07:55:38.895" v="3523"/>
        <pc:sldMkLst>
          <pc:docMk/>
          <pc:sldMk cId="1614741027" sldId="2147470007"/>
        </pc:sldMkLst>
        <pc:spChg chg="del">
          <ac:chgData name="Thomas Stensitzki" userId="75cafe6b-2f2a-469b-85c4-eec3b9c972ba" providerId="ADAL" clId="{20DBE477-A6EA-416C-A703-7F6801C4C8C8}" dt="2022-08-14T12:52:38.141" v="482" actId="700"/>
          <ac:spMkLst>
            <pc:docMk/>
            <pc:sldMk cId="1614741027" sldId="2147470007"/>
            <ac:spMk id="2" creationId="{4AF342A8-EBD7-C9AA-8CFA-14A3D5496EFF}"/>
          </ac:spMkLst>
        </pc:spChg>
        <pc:spChg chg="del mod ord">
          <ac:chgData name="Thomas Stensitzki" userId="75cafe6b-2f2a-469b-85c4-eec3b9c972ba" providerId="ADAL" clId="{20DBE477-A6EA-416C-A703-7F6801C4C8C8}" dt="2022-08-14T12:52:38.141" v="482" actId="700"/>
          <ac:spMkLst>
            <pc:docMk/>
            <pc:sldMk cId="1614741027" sldId="2147470007"/>
            <ac:spMk id="3" creationId="{AEAF2D41-6A79-EEB2-D41D-1DB3EFA6F2A1}"/>
          </ac:spMkLst>
        </pc:spChg>
        <pc:spChg chg="del">
          <ac:chgData name="Thomas Stensitzki" userId="75cafe6b-2f2a-469b-85c4-eec3b9c972ba" providerId="ADAL" clId="{20DBE477-A6EA-416C-A703-7F6801C4C8C8}" dt="2022-08-14T12:52:38.141" v="482" actId="700"/>
          <ac:spMkLst>
            <pc:docMk/>
            <pc:sldMk cId="1614741027" sldId="2147470007"/>
            <ac:spMk id="4" creationId="{2A572A72-1BA2-8550-CADF-6D02447C895E}"/>
          </ac:spMkLst>
        </pc:spChg>
        <pc:spChg chg="add mod ord">
          <ac:chgData name="Thomas Stensitzki" userId="75cafe6b-2f2a-469b-85c4-eec3b9c972ba" providerId="ADAL" clId="{20DBE477-A6EA-416C-A703-7F6801C4C8C8}" dt="2022-08-14T14:28:38.480" v="1653" actId="20577"/>
          <ac:spMkLst>
            <pc:docMk/>
            <pc:sldMk cId="1614741027" sldId="2147470007"/>
            <ac:spMk id="5" creationId="{644EA91D-4F9B-6250-61EC-4CDF98A49E70}"/>
          </ac:spMkLst>
        </pc:spChg>
        <pc:spChg chg="add del mod ord">
          <ac:chgData name="Thomas Stensitzki" userId="75cafe6b-2f2a-469b-85c4-eec3b9c972ba" providerId="ADAL" clId="{20DBE477-A6EA-416C-A703-7F6801C4C8C8}" dt="2022-08-14T14:28:47.421" v="1656" actId="478"/>
          <ac:spMkLst>
            <pc:docMk/>
            <pc:sldMk cId="1614741027" sldId="2147470007"/>
            <ac:spMk id="6" creationId="{58E3FBCD-36FD-0CE3-DD3B-EA05263C6AAF}"/>
          </ac:spMkLst>
        </pc:spChg>
        <pc:spChg chg="add del mod">
          <ac:chgData name="Thomas Stensitzki" userId="75cafe6b-2f2a-469b-85c4-eec3b9c972ba" providerId="ADAL" clId="{20DBE477-A6EA-416C-A703-7F6801C4C8C8}" dt="2022-08-14T12:53:28.010" v="488" actId="478"/>
          <ac:spMkLst>
            <pc:docMk/>
            <pc:sldMk cId="1614741027" sldId="2147470007"/>
            <ac:spMk id="7" creationId="{0015155A-5082-5E85-EFFB-E95719DC6B66}"/>
          </ac:spMkLst>
        </pc:spChg>
        <pc:spChg chg="add del mod">
          <ac:chgData name="Thomas Stensitzki" userId="75cafe6b-2f2a-469b-85c4-eec3b9c972ba" providerId="ADAL" clId="{20DBE477-A6EA-416C-A703-7F6801C4C8C8}" dt="2022-08-14T12:56:05.368" v="489" actId="478"/>
          <ac:spMkLst>
            <pc:docMk/>
            <pc:sldMk cId="1614741027" sldId="2147470007"/>
            <ac:spMk id="15" creationId="{04F1C085-E73D-F7B6-AEB3-211F40DBEF9F}"/>
          </ac:spMkLst>
        </pc:spChg>
        <pc:spChg chg="add del mod">
          <ac:chgData name="Thomas Stensitzki" userId="75cafe6b-2f2a-469b-85c4-eec3b9c972ba" providerId="ADAL" clId="{20DBE477-A6EA-416C-A703-7F6801C4C8C8}" dt="2022-08-14T12:56:05.368" v="489" actId="478"/>
          <ac:spMkLst>
            <pc:docMk/>
            <pc:sldMk cId="1614741027" sldId="2147470007"/>
            <ac:spMk id="16" creationId="{48D53E93-7971-503B-2015-F9C9C801F983}"/>
          </ac:spMkLst>
        </pc:spChg>
        <pc:spChg chg="add mod">
          <ac:chgData name="Thomas Stensitzki" userId="75cafe6b-2f2a-469b-85c4-eec3b9c972ba" providerId="ADAL" clId="{20DBE477-A6EA-416C-A703-7F6801C4C8C8}" dt="2022-09-03T14:15:48.846" v="2658" actId="6549"/>
          <ac:spMkLst>
            <pc:docMk/>
            <pc:sldMk cId="1614741027" sldId="2147470007"/>
            <ac:spMk id="29" creationId="{409921A9-7B14-AF76-561B-4F9B54CFD263}"/>
          </ac:spMkLst>
        </pc:spChg>
        <pc:spChg chg="add mod">
          <ac:chgData name="Thomas Stensitzki" userId="75cafe6b-2f2a-469b-85c4-eec3b9c972ba" providerId="ADAL" clId="{20DBE477-A6EA-416C-A703-7F6801C4C8C8}" dt="2022-09-03T14:15:56.106" v="2664" actId="6549"/>
          <ac:spMkLst>
            <pc:docMk/>
            <pc:sldMk cId="1614741027" sldId="2147470007"/>
            <ac:spMk id="30" creationId="{F21E56D5-D8A4-9512-962C-56AEB9424BD1}"/>
          </ac:spMkLst>
        </pc:spChg>
        <pc:grpChg chg="add del mod">
          <ac:chgData name="Thomas Stensitzki" userId="75cafe6b-2f2a-469b-85c4-eec3b9c972ba" providerId="ADAL" clId="{20DBE477-A6EA-416C-A703-7F6801C4C8C8}" dt="2022-08-14T12:56:05.368" v="489" actId="478"/>
          <ac:grpSpMkLst>
            <pc:docMk/>
            <pc:sldMk cId="1614741027" sldId="2147470007"/>
            <ac:grpSpMk id="8" creationId="{11ADDDDC-24FF-B17E-C4B8-E888A69C0028}"/>
          </ac:grpSpMkLst>
        </pc:grpChg>
        <pc:grpChg chg="add del mod">
          <ac:chgData name="Thomas Stensitzki" userId="75cafe6b-2f2a-469b-85c4-eec3b9c972ba" providerId="ADAL" clId="{20DBE477-A6EA-416C-A703-7F6801C4C8C8}" dt="2022-08-14T12:56:05.368" v="489" actId="478"/>
          <ac:grpSpMkLst>
            <pc:docMk/>
            <pc:sldMk cId="1614741027" sldId="2147470007"/>
            <ac:grpSpMk id="17" creationId="{4F14C125-5AF0-3362-E306-02CB7113AAE6}"/>
          </ac:grpSpMkLst>
        </pc:grpChg>
        <pc:grpChg chg="add mod">
          <ac:chgData name="Thomas Stensitzki" userId="75cafe6b-2f2a-469b-85c4-eec3b9c972ba" providerId="ADAL" clId="{20DBE477-A6EA-416C-A703-7F6801C4C8C8}" dt="2022-08-14T14:28:52.915" v="1672" actId="1035"/>
          <ac:grpSpMkLst>
            <pc:docMk/>
            <pc:sldMk cId="1614741027" sldId="2147470007"/>
            <ac:grpSpMk id="22" creationId="{5BC1B65F-E8A0-35CB-B8A5-184B5E7C3A20}"/>
          </ac:grpSpMkLst>
        </pc:grpChg>
        <pc:grpChg chg="add mod">
          <ac:chgData name="Thomas Stensitzki" userId="75cafe6b-2f2a-469b-85c4-eec3b9c972ba" providerId="ADAL" clId="{20DBE477-A6EA-416C-A703-7F6801C4C8C8}" dt="2022-08-14T14:28:52.915" v="1672" actId="1035"/>
          <ac:grpSpMkLst>
            <pc:docMk/>
            <pc:sldMk cId="1614741027" sldId="2147470007"/>
            <ac:grpSpMk id="31" creationId="{98A30BF2-9995-3B8F-3D2B-CFA53989B0A3}"/>
          </ac:grpSpMkLst>
        </pc:grp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9" creationId="{867F2BC6-6053-ED2E-049E-B6632C75CB75}"/>
          </ac:picMkLst>
        </pc:pic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10" creationId="{EFA66C6D-3B73-6CAB-41CD-673BFD71C1F7}"/>
          </ac:picMkLst>
        </pc:pic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11" creationId="{CDA34711-078D-3CE6-81E5-051848A93177}"/>
          </ac:picMkLst>
        </pc:pic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12" creationId="{1BAE4BC1-2D93-C67C-40D5-41B5ADB694DA}"/>
          </ac:picMkLst>
        </pc:pic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18" creationId="{0BEC98A0-B930-8811-6ABB-0F4B9ECC6754}"/>
          </ac:picMkLst>
        </pc:picChg>
        <pc:picChg chg="mod">
          <ac:chgData name="Thomas Stensitzki" userId="75cafe6b-2f2a-469b-85c4-eec3b9c972ba" providerId="ADAL" clId="{20DBE477-A6EA-416C-A703-7F6801C4C8C8}" dt="2022-08-14T12:53:18.011" v="485"/>
          <ac:picMkLst>
            <pc:docMk/>
            <pc:sldMk cId="1614741027" sldId="2147470007"/>
            <ac:picMk id="19" creationId="{77465192-E04C-AE9E-2C65-D5BD810A76D6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23" creationId="{3D5A3BDD-ADBF-4913-5B8A-C99E7B8E5020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24" creationId="{7F4B2645-7AEC-96A2-E175-14BCC9CA17F6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25" creationId="{938DAD04-A93A-CA75-750C-5B1475BC4A38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26" creationId="{294D3761-1F3D-C0EE-E8D7-92F2A1174EA8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32" creationId="{A3F06584-87B8-EDB6-6CAE-8F8175730952}"/>
          </ac:picMkLst>
        </pc:picChg>
        <pc:picChg chg="mod">
          <ac:chgData name="Thomas Stensitzki" userId="75cafe6b-2f2a-469b-85c4-eec3b9c972ba" providerId="ADAL" clId="{20DBE477-A6EA-416C-A703-7F6801C4C8C8}" dt="2022-08-14T12:56:20.330" v="490"/>
          <ac:picMkLst>
            <pc:docMk/>
            <pc:sldMk cId="1614741027" sldId="2147470007"/>
            <ac:picMk id="33" creationId="{88BABC67-8D16-05F1-D8B3-A7364A50F757}"/>
          </ac:picMkLst>
        </pc:picChg>
        <pc:cxnChg chg="mod">
          <ac:chgData name="Thomas Stensitzki" userId="75cafe6b-2f2a-469b-85c4-eec3b9c972ba" providerId="ADAL" clId="{20DBE477-A6EA-416C-A703-7F6801C4C8C8}" dt="2022-08-14T12:53:18.011" v="485"/>
          <ac:cxnSpMkLst>
            <pc:docMk/>
            <pc:sldMk cId="1614741027" sldId="2147470007"/>
            <ac:cxnSpMk id="13" creationId="{41D20A29-3ED4-C6F8-BD6E-7190385C571B}"/>
          </ac:cxnSpMkLst>
        </pc:cxnChg>
        <pc:cxnChg chg="mod">
          <ac:chgData name="Thomas Stensitzki" userId="75cafe6b-2f2a-469b-85c4-eec3b9c972ba" providerId="ADAL" clId="{20DBE477-A6EA-416C-A703-7F6801C4C8C8}" dt="2022-08-14T12:53:18.011" v="485"/>
          <ac:cxnSpMkLst>
            <pc:docMk/>
            <pc:sldMk cId="1614741027" sldId="2147470007"/>
            <ac:cxnSpMk id="14" creationId="{0FA11C70-639D-B59D-248E-EA90BE46A083}"/>
          </ac:cxnSpMkLst>
        </pc:cxnChg>
        <pc:cxnChg chg="mod">
          <ac:chgData name="Thomas Stensitzki" userId="75cafe6b-2f2a-469b-85c4-eec3b9c972ba" providerId="ADAL" clId="{20DBE477-A6EA-416C-A703-7F6801C4C8C8}" dt="2022-08-14T12:53:18.011" v="485"/>
          <ac:cxnSpMkLst>
            <pc:docMk/>
            <pc:sldMk cId="1614741027" sldId="2147470007"/>
            <ac:cxnSpMk id="20" creationId="{0EFCB92E-9DF8-A442-FA37-C070C42CD691}"/>
          </ac:cxnSpMkLst>
        </pc:cxnChg>
        <pc:cxnChg chg="mod">
          <ac:chgData name="Thomas Stensitzki" userId="75cafe6b-2f2a-469b-85c4-eec3b9c972ba" providerId="ADAL" clId="{20DBE477-A6EA-416C-A703-7F6801C4C8C8}" dt="2022-08-14T12:53:18.011" v="485"/>
          <ac:cxnSpMkLst>
            <pc:docMk/>
            <pc:sldMk cId="1614741027" sldId="2147470007"/>
            <ac:cxnSpMk id="21" creationId="{0707F417-7303-DDEC-4646-FE0D25029241}"/>
          </ac:cxnSpMkLst>
        </pc:cxnChg>
        <pc:cxnChg chg="mod">
          <ac:chgData name="Thomas Stensitzki" userId="75cafe6b-2f2a-469b-85c4-eec3b9c972ba" providerId="ADAL" clId="{20DBE477-A6EA-416C-A703-7F6801C4C8C8}" dt="2022-08-14T12:56:20.330" v="490"/>
          <ac:cxnSpMkLst>
            <pc:docMk/>
            <pc:sldMk cId="1614741027" sldId="2147470007"/>
            <ac:cxnSpMk id="27" creationId="{A637C0B6-0FF7-2093-9B63-40D61E04F1FC}"/>
          </ac:cxnSpMkLst>
        </pc:cxnChg>
        <pc:cxnChg chg="mod">
          <ac:chgData name="Thomas Stensitzki" userId="75cafe6b-2f2a-469b-85c4-eec3b9c972ba" providerId="ADAL" clId="{20DBE477-A6EA-416C-A703-7F6801C4C8C8}" dt="2022-08-14T12:56:20.330" v="490"/>
          <ac:cxnSpMkLst>
            <pc:docMk/>
            <pc:sldMk cId="1614741027" sldId="2147470007"/>
            <ac:cxnSpMk id="28" creationId="{F18B35D4-BA17-AD63-E8A3-3DCE30C2559B}"/>
          </ac:cxnSpMkLst>
        </pc:cxnChg>
        <pc:cxnChg chg="mod">
          <ac:chgData name="Thomas Stensitzki" userId="75cafe6b-2f2a-469b-85c4-eec3b9c972ba" providerId="ADAL" clId="{20DBE477-A6EA-416C-A703-7F6801C4C8C8}" dt="2022-08-14T12:56:20.330" v="490"/>
          <ac:cxnSpMkLst>
            <pc:docMk/>
            <pc:sldMk cId="1614741027" sldId="2147470007"/>
            <ac:cxnSpMk id="34" creationId="{32CB84C6-A253-2B62-475A-481034742323}"/>
          </ac:cxnSpMkLst>
        </pc:cxnChg>
        <pc:cxnChg chg="mod">
          <ac:chgData name="Thomas Stensitzki" userId="75cafe6b-2f2a-469b-85c4-eec3b9c972ba" providerId="ADAL" clId="{20DBE477-A6EA-416C-A703-7F6801C4C8C8}" dt="2022-08-14T12:56:20.330" v="490"/>
          <ac:cxnSpMkLst>
            <pc:docMk/>
            <pc:sldMk cId="1614741027" sldId="2147470007"/>
            <ac:cxnSpMk id="35" creationId="{1275B0AD-EE15-8A3B-A8CC-6604D99DA99E}"/>
          </ac:cxnSpMkLst>
        </pc:cxnChg>
      </pc:sldChg>
      <pc:sldChg chg="addSp delSp modSp new mod modAnim modNotes">
        <pc:chgData name="Thomas Stensitzki" userId="75cafe6b-2f2a-469b-85c4-eec3b9c972ba" providerId="ADAL" clId="{20DBE477-A6EA-416C-A703-7F6801C4C8C8}" dt="2022-09-13T16:40:58.220" v="3599" actId="1076"/>
        <pc:sldMkLst>
          <pc:docMk/>
          <pc:sldMk cId="466889381" sldId="2147470008"/>
        </pc:sldMkLst>
        <pc:spChg chg="mod">
          <ac:chgData name="Thomas Stensitzki" userId="75cafe6b-2f2a-469b-85c4-eec3b9c972ba" providerId="ADAL" clId="{20DBE477-A6EA-416C-A703-7F6801C4C8C8}" dt="2022-08-14T13:18:13.616" v="938"/>
          <ac:spMkLst>
            <pc:docMk/>
            <pc:sldMk cId="466889381" sldId="2147470008"/>
            <ac:spMk id="2" creationId="{816B9B8E-090B-80AE-B4A0-2FDBF0C00F13}"/>
          </ac:spMkLst>
        </pc:spChg>
        <pc:spChg chg="del">
          <ac:chgData name="Thomas Stensitzki" userId="75cafe6b-2f2a-469b-85c4-eec3b9c972ba" providerId="ADAL" clId="{20DBE477-A6EA-416C-A703-7F6801C4C8C8}" dt="2022-08-14T12:57:43.527" v="535" actId="478"/>
          <ac:spMkLst>
            <pc:docMk/>
            <pc:sldMk cId="466889381" sldId="2147470008"/>
            <ac:spMk id="3" creationId="{653E9BFB-B368-0533-F44C-2CD1F4EFB08A}"/>
          </ac:spMkLst>
        </pc:spChg>
        <pc:spChg chg="mod">
          <ac:chgData name="Thomas Stensitzki" userId="75cafe6b-2f2a-469b-85c4-eec3b9c972ba" providerId="ADAL" clId="{20DBE477-A6EA-416C-A703-7F6801C4C8C8}" dt="2022-08-14T13:18:13.620" v="939" actId="790"/>
          <ac:spMkLst>
            <pc:docMk/>
            <pc:sldMk cId="466889381" sldId="2147470008"/>
            <ac:spMk id="5" creationId="{ABA2BEEB-41D0-4F00-3E69-09C68380433B}"/>
          </ac:spMkLst>
        </pc:spChg>
        <pc:spChg chg="mod">
          <ac:chgData name="Thomas Stensitzki" userId="75cafe6b-2f2a-469b-85c4-eec3b9c972ba" providerId="ADAL" clId="{20DBE477-A6EA-416C-A703-7F6801C4C8C8}" dt="2022-09-13T16:40:58.220" v="3599" actId="1076"/>
          <ac:spMkLst>
            <pc:docMk/>
            <pc:sldMk cId="466889381" sldId="2147470008"/>
            <ac:spMk id="6" creationId="{7957778B-02EB-0F11-A3B1-1AAFB9AD573D}"/>
          </ac:spMkLst>
        </pc:spChg>
        <pc:spChg chg="add mod">
          <ac:chgData name="Thomas Stensitzki" userId="75cafe6b-2f2a-469b-85c4-eec3b9c972ba" providerId="ADAL" clId="{20DBE477-A6EA-416C-A703-7F6801C4C8C8}" dt="2022-08-14T13:18:13.624" v="941"/>
          <ac:spMkLst>
            <pc:docMk/>
            <pc:sldMk cId="466889381" sldId="2147470008"/>
            <ac:spMk id="7" creationId="{008A3D95-747D-DDE5-7798-B7F9916DD286}"/>
          </ac:spMkLst>
        </pc:spChg>
        <pc:spChg chg="mod">
          <ac:chgData name="Thomas Stensitzki" userId="75cafe6b-2f2a-469b-85c4-eec3b9c972ba" providerId="ADAL" clId="{20DBE477-A6EA-416C-A703-7F6801C4C8C8}" dt="2022-08-14T13:18:13.627" v="942" actId="790"/>
          <ac:spMkLst>
            <pc:docMk/>
            <pc:sldMk cId="466889381" sldId="2147470008"/>
            <ac:spMk id="9" creationId="{BE46EA9C-B757-5B07-FD52-0538B5C915B7}"/>
          </ac:spMkLst>
        </pc:spChg>
        <pc:spChg chg="mod">
          <ac:chgData name="Thomas Stensitzki" userId="75cafe6b-2f2a-469b-85c4-eec3b9c972ba" providerId="ADAL" clId="{20DBE477-A6EA-416C-A703-7F6801C4C8C8}" dt="2022-08-14T13:18:13.628" v="943" actId="790"/>
          <ac:spMkLst>
            <pc:docMk/>
            <pc:sldMk cId="466889381" sldId="2147470008"/>
            <ac:spMk id="10" creationId="{6FF81954-8A30-F156-D325-54E4657D7013}"/>
          </ac:spMkLst>
        </pc:spChg>
        <pc:spChg chg="mod">
          <ac:chgData name="Thomas Stensitzki" userId="75cafe6b-2f2a-469b-85c4-eec3b9c972ba" providerId="ADAL" clId="{20DBE477-A6EA-416C-A703-7F6801C4C8C8}" dt="2022-08-14T13:18:13.630" v="944" actId="790"/>
          <ac:spMkLst>
            <pc:docMk/>
            <pc:sldMk cId="466889381" sldId="2147470008"/>
            <ac:spMk id="12" creationId="{FBA95157-7E29-0BD5-243F-0BA8B4658B44}"/>
          </ac:spMkLst>
        </pc:spChg>
        <pc:spChg chg="mod">
          <ac:chgData name="Thomas Stensitzki" userId="75cafe6b-2f2a-469b-85c4-eec3b9c972ba" providerId="ADAL" clId="{20DBE477-A6EA-416C-A703-7F6801C4C8C8}" dt="2022-08-14T13:18:13.631" v="945" actId="790"/>
          <ac:spMkLst>
            <pc:docMk/>
            <pc:sldMk cId="466889381" sldId="2147470008"/>
            <ac:spMk id="13" creationId="{D9480712-CFBA-F65A-175C-C13924045F73}"/>
          </ac:spMkLst>
        </pc:spChg>
        <pc:spChg chg="add mod">
          <ac:chgData name="Thomas Stensitzki" userId="75cafe6b-2f2a-469b-85c4-eec3b9c972ba" providerId="ADAL" clId="{20DBE477-A6EA-416C-A703-7F6801C4C8C8}" dt="2022-08-14T13:18:13.633" v="946"/>
          <ac:spMkLst>
            <pc:docMk/>
            <pc:sldMk cId="466889381" sldId="2147470008"/>
            <ac:spMk id="15" creationId="{76DCF9B7-5A1D-B07A-E8AC-93EAE52478CE}"/>
          </ac:spMkLst>
        </pc:spChg>
        <pc:spChg chg="add mod">
          <ac:chgData name="Thomas Stensitzki" userId="75cafe6b-2f2a-469b-85c4-eec3b9c972ba" providerId="ADAL" clId="{20DBE477-A6EA-416C-A703-7F6801C4C8C8}" dt="2022-08-14T13:18:13.634" v="947"/>
          <ac:spMkLst>
            <pc:docMk/>
            <pc:sldMk cId="466889381" sldId="2147470008"/>
            <ac:spMk id="16" creationId="{4C85E1AA-5E42-C7CE-215A-5451A3A24B3F}"/>
          </ac:spMkLst>
        </pc:spChg>
        <pc:grpChg chg="add mod">
          <ac:chgData name="Thomas Stensitzki" userId="75cafe6b-2f2a-469b-85c4-eec3b9c972ba" providerId="ADAL" clId="{20DBE477-A6EA-416C-A703-7F6801C4C8C8}" dt="2022-08-14T12:57:59.134" v="557" actId="1036"/>
          <ac:grpSpMkLst>
            <pc:docMk/>
            <pc:sldMk cId="466889381" sldId="2147470008"/>
            <ac:grpSpMk id="4" creationId="{3654A9E7-951E-9B6B-8C16-0C36AE21E352}"/>
          </ac:grpSpMkLst>
        </pc:grpChg>
        <pc:grpChg chg="add mod">
          <ac:chgData name="Thomas Stensitzki" userId="75cafe6b-2f2a-469b-85c4-eec3b9c972ba" providerId="ADAL" clId="{20DBE477-A6EA-416C-A703-7F6801C4C8C8}" dt="2022-08-14T12:57:59.134" v="557" actId="1036"/>
          <ac:grpSpMkLst>
            <pc:docMk/>
            <pc:sldMk cId="466889381" sldId="2147470008"/>
            <ac:grpSpMk id="8" creationId="{0DB8102C-D6DA-421D-932C-FE8032CC48EE}"/>
          </ac:grpSpMkLst>
        </pc:grpChg>
        <pc:grpChg chg="add mod">
          <ac:chgData name="Thomas Stensitzki" userId="75cafe6b-2f2a-469b-85c4-eec3b9c972ba" providerId="ADAL" clId="{20DBE477-A6EA-416C-A703-7F6801C4C8C8}" dt="2022-08-14T12:57:59.134" v="557" actId="1036"/>
          <ac:grpSpMkLst>
            <pc:docMk/>
            <pc:sldMk cId="466889381" sldId="2147470008"/>
            <ac:grpSpMk id="11" creationId="{B1C15C9E-3D53-20AD-00D8-C487BF4F3537}"/>
          </ac:grpSpMkLst>
        </pc:grpChg>
        <pc:grpChg chg="add mod">
          <ac:chgData name="Thomas Stensitzki" userId="75cafe6b-2f2a-469b-85c4-eec3b9c972ba" providerId="ADAL" clId="{20DBE477-A6EA-416C-A703-7F6801C4C8C8}" dt="2022-08-14T12:57:59.134" v="557" actId="1036"/>
          <ac:grpSpMkLst>
            <pc:docMk/>
            <pc:sldMk cId="466889381" sldId="2147470008"/>
            <ac:grpSpMk id="22" creationId="{F9C1C079-A695-9130-17C4-11EDB585DCD9}"/>
          </ac:grpSpMkLst>
        </pc:grpChg>
        <pc:picChg chg="add mod">
          <ac:chgData name="Thomas Stensitzki" userId="75cafe6b-2f2a-469b-85c4-eec3b9c972ba" providerId="ADAL" clId="{20DBE477-A6EA-416C-A703-7F6801C4C8C8}" dt="2022-08-14T12:59:49.014" v="567" actId="207"/>
          <ac:picMkLst>
            <pc:docMk/>
            <pc:sldMk cId="466889381" sldId="2147470008"/>
            <ac:picMk id="14" creationId="{17A4133F-01CE-25DD-7BA9-E122B4C675AF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17" creationId="{240782FD-5B12-42A4-99F5-33836A4A8E41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18" creationId="{1759984D-F227-254E-BE06-0802B18D2FBF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19" creationId="{5D104229-D390-DB47-5078-8FA55EA3BB48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0" creationId="{DCC01748-236A-3756-5CD0-6A6F12A3849B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1" creationId="{273BA5F9-404C-08DA-F6FA-D2ECF026033A}"/>
          </ac:picMkLst>
        </pc:picChg>
        <pc:picChg chg="mod">
          <ac:chgData name="Thomas Stensitzki" userId="75cafe6b-2f2a-469b-85c4-eec3b9c972ba" providerId="ADAL" clId="{20DBE477-A6EA-416C-A703-7F6801C4C8C8}" dt="2022-08-14T12:59:24.647" v="566" actId="207"/>
          <ac:picMkLst>
            <pc:docMk/>
            <pc:sldMk cId="466889381" sldId="2147470008"/>
            <ac:picMk id="23" creationId="{E917F805-A226-B6FE-2508-E405E88214B5}"/>
          </ac:picMkLst>
        </pc:picChg>
        <pc:picChg chg="mod">
          <ac:chgData name="Thomas Stensitzki" userId="75cafe6b-2f2a-469b-85c4-eec3b9c972ba" providerId="ADAL" clId="{20DBE477-A6EA-416C-A703-7F6801C4C8C8}" dt="2022-08-14T12:57:54.314" v="536"/>
          <ac:picMkLst>
            <pc:docMk/>
            <pc:sldMk cId="466889381" sldId="2147470008"/>
            <ac:picMk id="24" creationId="{83BC7F62-CF45-067A-F05F-3084D36A9BF5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5" creationId="{1642D119-A62D-4C4B-4505-B03B0D16598B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6" creationId="{32F2B764-4074-6AA2-E0FB-AEC7FBE40017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7" creationId="{C7CFD871-82D0-5BD5-56F0-FF4D4634BCB7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8" creationId="{E832D4F3-5668-97FF-4313-D863AD39D487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29" creationId="{5CD32DC0-D501-C22C-0E66-C0B6812558FB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0" creationId="{53E822F0-A32A-AC46-E7A4-8543394A2C4B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1" creationId="{49E8AD46-A960-5901-0BE8-350DF2BB2973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2" creationId="{1C06FDF5-78FE-15CD-DB31-DA0B30E7CAC9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3" creationId="{AEBE7CA8-75FD-1648-E796-C4CEB4287E47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4" creationId="{57458FD1-B569-B077-B5C5-6DFC67ED340D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5" creationId="{1CA01663-B190-E42B-C584-FF3ECF8192EF}"/>
          </ac:picMkLst>
        </pc:picChg>
        <pc:picChg chg="add mod">
          <ac:chgData name="Thomas Stensitzki" userId="75cafe6b-2f2a-469b-85c4-eec3b9c972ba" providerId="ADAL" clId="{20DBE477-A6EA-416C-A703-7F6801C4C8C8}" dt="2022-08-14T12:57:59.134" v="557" actId="1036"/>
          <ac:picMkLst>
            <pc:docMk/>
            <pc:sldMk cId="466889381" sldId="2147470008"/>
            <ac:picMk id="36" creationId="{9817B64C-720A-1309-E146-854EA5741B99}"/>
          </ac:picMkLst>
        </pc:picChg>
      </pc:sldChg>
      <pc:sldChg chg="modSp add mod modAnim modNotes">
        <pc:chgData name="Thomas Stensitzki" userId="75cafe6b-2f2a-469b-85c4-eec3b9c972ba" providerId="ADAL" clId="{20DBE477-A6EA-416C-A703-7F6801C4C8C8}" dt="2022-09-09T07:57:50.295" v="3531"/>
        <pc:sldMkLst>
          <pc:docMk/>
          <pc:sldMk cId="480491761" sldId="2147470009"/>
        </pc:sldMkLst>
        <pc:spChg chg="mod">
          <ac:chgData name="Thomas Stensitzki" userId="75cafe6b-2f2a-469b-85c4-eec3b9c972ba" providerId="ADAL" clId="{20DBE477-A6EA-416C-A703-7F6801C4C8C8}" dt="2022-08-14T13:18:13.661" v="970" actId="790"/>
          <ac:spMkLst>
            <pc:docMk/>
            <pc:sldMk cId="480491761" sldId="2147470009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5T17:18:27.183" v="2915" actId="20577"/>
          <ac:spMkLst>
            <pc:docMk/>
            <pc:sldMk cId="480491761" sldId="2147470009"/>
            <ac:spMk id="4" creationId="{412EE92D-E893-8C04-1CA3-92929AEAAD80}"/>
          </ac:spMkLst>
        </pc:spChg>
      </pc:sldChg>
      <pc:sldChg chg="modSp add mod modAnim modNotes">
        <pc:chgData name="Thomas Stensitzki" userId="75cafe6b-2f2a-469b-85c4-eec3b9c972ba" providerId="ADAL" clId="{20DBE477-A6EA-416C-A703-7F6801C4C8C8}" dt="2022-09-09T07:58:08.736" v="3533"/>
        <pc:sldMkLst>
          <pc:docMk/>
          <pc:sldMk cId="1958113311" sldId="2147470010"/>
        </pc:sldMkLst>
        <pc:spChg chg="mod">
          <ac:chgData name="Thomas Stensitzki" userId="75cafe6b-2f2a-469b-85c4-eec3b9c972ba" providerId="ADAL" clId="{20DBE477-A6EA-416C-A703-7F6801C4C8C8}" dt="2022-08-14T13:18:13.666" v="974" actId="790"/>
          <ac:spMkLst>
            <pc:docMk/>
            <pc:sldMk cId="1958113311" sldId="2147470010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5T17:21:23.222" v="2940" actId="6549"/>
          <ac:spMkLst>
            <pc:docMk/>
            <pc:sldMk cId="1958113311" sldId="2147470010"/>
            <ac:spMk id="4" creationId="{412EE92D-E893-8C04-1CA3-92929AEAAD80}"/>
          </ac:spMkLst>
        </pc:spChg>
      </pc:sldChg>
      <pc:sldChg chg="modSp add mod ord modAnim modNotes">
        <pc:chgData name="Thomas Stensitzki" userId="75cafe6b-2f2a-469b-85c4-eec3b9c972ba" providerId="ADAL" clId="{20DBE477-A6EA-416C-A703-7F6801C4C8C8}" dt="2022-09-09T07:58:25.717" v="3535"/>
        <pc:sldMkLst>
          <pc:docMk/>
          <pc:sldMk cId="3846243842" sldId="2147470011"/>
        </pc:sldMkLst>
        <pc:spChg chg="mod">
          <ac:chgData name="Thomas Stensitzki" userId="75cafe6b-2f2a-469b-85c4-eec3b9c972ba" providerId="ADAL" clId="{20DBE477-A6EA-416C-A703-7F6801C4C8C8}" dt="2022-08-14T13:18:13.677" v="985" actId="790"/>
          <ac:spMkLst>
            <pc:docMk/>
            <pc:sldMk cId="3846243842" sldId="2147470011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3T14:35:09.622" v="2774" actId="6549"/>
          <ac:spMkLst>
            <pc:docMk/>
            <pc:sldMk cId="3846243842" sldId="2147470011"/>
            <ac:spMk id="4" creationId="{412EE92D-E893-8C04-1CA3-92929AEAAD80}"/>
          </ac:spMkLst>
        </pc:spChg>
      </pc:sldChg>
      <pc:sldChg chg="modSp add mod modAnim modNotes">
        <pc:chgData name="Thomas Stensitzki" userId="75cafe6b-2f2a-469b-85c4-eec3b9c972ba" providerId="ADAL" clId="{20DBE477-A6EA-416C-A703-7F6801C4C8C8}" dt="2022-09-09T07:58:39.198" v="3537"/>
        <pc:sldMkLst>
          <pc:docMk/>
          <pc:sldMk cId="3047873551" sldId="2147470012"/>
        </pc:sldMkLst>
        <pc:spChg chg="mod">
          <ac:chgData name="Thomas Stensitzki" userId="75cafe6b-2f2a-469b-85c4-eec3b9c972ba" providerId="ADAL" clId="{20DBE477-A6EA-416C-A703-7F6801C4C8C8}" dt="2022-08-14T13:18:13.682" v="989" actId="790"/>
          <ac:spMkLst>
            <pc:docMk/>
            <pc:sldMk cId="3047873551" sldId="2147470012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8-14T13:18:13.685" v="990" actId="790"/>
          <ac:spMkLst>
            <pc:docMk/>
            <pc:sldMk cId="3047873551" sldId="2147470012"/>
            <ac:spMk id="4" creationId="{412EE92D-E893-8C04-1CA3-92929AEAAD80}"/>
          </ac:spMkLst>
        </pc:spChg>
      </pc:sldChg>
      <pc:sldChg chg="modSp add mod modAnim modNotes modNotesTx">
        <pc:chgData name="Thomas Stensitzki" userId="75cafe6b-2f2a-469b-85c4-eec3b9c972ba" providerId="ADAL" clId="{20DBE477-A6EA-416C-A703-7F6801C4C8C8}" dt="2022-09-09T07:59:07.941" v="3539"/>
        <pc:sldMkLst>
          <pc:docMk/>
          <pc:sldMk cId="4049536941" sldId="2147470013"/>
        </pc:sldMkLst>
        <pc:spChg chg="mod">
          <ac:chgData name="Thomas Stensitzki" userId="75cafe6b-2f2a-469b-85c4-eec3b9c972ba" providerId="ADAL" clId="{20DBE477-A6EA-416C-A703-7F6801C4C8C8}" dt="2022-08-14T13:18:13.687" v="993" actId="790"/>
          <ac:spMkLst>
            <pc:docMk/>
            <pc:sldMk cId="4049536941" sldId="2147470013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8-14T13:18:13.689" v="994" actId="790"/>
          <ac:spMkLst>
            <pc:docMk/>
            <pc:sldMk cId="4049536941" sldId="2147470013"/>
            <ac:spMk id="4" creationId="{412EE92D-E893-8C04-1CA3-92929AEAAD80}"/>
          </ac:spMkLst>
        </pc:spChg>
      </pc:sldChg>
      <pc:sldChg chg="modSp new mod modNotes">
        <pc:chgData name="Thomas Stensitzki" userId="75cafe6b-2f2a-469b-85c4-eec3b9c972ba" providerId="ADAL" clId="{20DBE477-A6EA-416C-A703-7F6801C4C8C8}" dt="2022-09-06T17:10:13.182" v="3500" actId="6549"/>
        <pc:sldMkLst>
          <pc:docMk/>
          <pc:sldMk cId="1817424031" sldId="2147470014"/>
        </pc:sldMkLst>
        <pc:spChg chg="mod">
          <ac:chgData name="Thomas Stensitzki" userId="75cafe6b-2f2a-469b-85c4-eec3b9c972ba" providerId="ADAL" clId="{20DBE477-A6EA-416C-A703-7F6801C4C8C8}" dt="2022-08-14T13:18:13.726" v="1030" actId="790"/>
          <ac:spMkLst>
            <pc:docMk/>
            <pc:sldMk cId="1817424031" sldId="2147470014"/>
            <ac:spMk id="2" creationId="{712B6D97-CBB1-41B0-F1F3-0A5BA4A24CBF}"/>
          </ac:spMkLst>
        </pc:spChg>
        <pc:spChg chg="mod">
          <ac:chgData name="Thomas Stensitzki" userId="75cafe6b-2f2a-469b-85c4-eec3b9c972ba" providerId="ADAL" clId="{20DBE477-A6EA-416C-A703-7F6801C4C8C8}" dt="2022-09-06T17:10:13.182" v="3500" actId="6549"/>
          <ac:spMkLst>
            <pc:docMk/>
            <pc:sldMk cId="1817424031" sldId="2147470014"/>
            <ac:spMk id="3" creationId="{89B7D778-FDD3-A434-7E12-A3A88AABE4D3}"/>
          </ac:spMkLst>
        </pc:spChg>
      </pc:sldChg>
      <pc:sldChg chg="modSp add mod modAnim modNotes">
        <pc:chgData name="Thomas Stensitzki" userId="75cafe6b-2f2a-469b-85c4-eec3b9c972ba" providerId="ADAL" clId="{20DBE477-A6EA-416C-A703-7F6801C4C8C8}" dt="2022-09-09T07:59:26.118" v="3541"/>
        <pc:sldMkLst>
          <pc:docMk/>
          <pc:sldMk cId="715577802" sldId="2147470015"/>
        </pc:sldMkLst>
        <pc:spChg chg="mod">
          <ac:chgData name="Thomas Stensitzki" userId="75cafe6b-2f2a-469b-85c4-eec3b9c972ba" providerId="ADAL" clId="{20DBE477-A6EA-416C-A703-7F6801C4C8C8}" dt="2022-08-14T13:18:13.691" v="997" actId="790"/>
          <ac:spMkLst>
            <pc:docMk/>
            <pc:sldMk cId="715577802" sldId="2147470015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5T17:34:12.338" v="2942" actId="113"/>
          <ac:spMkLst>
            <pc:docMk/>
            <pc:sldMk cId="715577802" sldId="2147470015"/>
            <ac:spMk id="4" creationId="{412EE92D-E893-8C04-1CA3-92929AEAAD80}"/>
          </ac:spMkLst>
        </pc:spChg>
      </pc:sldChg>
      <pc:sldChg chg="modSp add mod modAnim modNotes">
        <pc:chgData name="Thomas Stensitzki" userId="75cafe6b-2f2a-469b-85c4-eec3b9c972ba" providerId="ADAL" clId="{20DBE477-A6EA-416C-A703-7F6801C4C8C8}" dt="2022-09-09T07:59:36.732" v="3543"/>
        <pc:sldMkLst>
          <pc:docMk/>
          <pc:sldMk cId="4044408396" sldId="2147470016"/>
        </pc:sldMkLst>
        <pc:spChg chg="mod">
          <ac:chgData name="Thomas Stensitzki" userId="75cafe6b-2f2a-469b-85c4-eec3b9c972ba" providerId="ADAL" clId="{20DBE477-A6EA-416C-A703-7F6801C4C8C8}" dt="2022-08-14T13:18:13.695" v="1001" actId="790"/>
          <ac:spMkLst>
            <pc:docMk/>
            <pc:sldMk cId="4044408396" sldId="2147470016"/>
            <ac:spMk id="3" creationId="{EE3D0C6B-B2AD-CB7B-748B-94DC3DAE6CD0}"/>
          </ac:spMkLst>
        </pc:spChg>
        <pc:spChg chg="mod">
          <ac:chgData name="Thomas Stensitzki" userId="75cafe6b-2f2a-469b-85c4-eec3b9c972ba" providerId="ADAL" clId="{20DBE477-A6EA-416C-A703-7F6801C4C8C8}" dt="2022-09-03T14:37:24.382" v="2790" actId="6549"/>
          <ac:spMkLst>
            <pc:docMk/>
            <pc:sldMk cId="4044408396" sldId="2147470016"/>
            <ac:spMk id="4" creationId="{412EE92D-E893-8C04-1CA3-92929AEAAD80}"/>
          </ac:spMkLst>
        </pc:spChg>
      </pc:sldChg>
      <pc:sldChg chg="modSp new mod modAnim modNotes">
        <pc:chgData name="Thomas Stensitzki" userId="75cafe6b-2f2a-469b-85c4-eec3b9c972ba" providerId="ADAL" clId="{20DBE477-A6EA-416C-A703-7F6801C4C8C8}" dt="2022-09-09T08:03:45.916" v="3545"/>
        <pc:sldMkLst>
          <pc:docMk/>
          <pc:sldMk cId="2419684727" sldId="2147470017"/>
        </pc:sldMkLst>
        <pc:spChg chg="mod">
          <ac:chgData name="Thomas Stensitzki" userId="75cafe6b-2f2a-469b-85c4-eec3b9c972ba" providerId="ADAL" clId="{20DBE477-A6EA-416C-A703-7F6801C4C8C8}" dt="2022-08-14T13:18:13.700" v="1005" actId="790"/>
          <ac:spMkLst>
            <pc:docMk/>
            <pc:sldMk cId="2419684727" sldId="2147470017"/>
            <ac:spMk id="2" creationId="{33455E47-6DDC-16C9-6413-8ADADBA3C43F}"/>
          </ac:spMkLst>
        </pc:spChg>
        <pc:spChg chg="mod">
          <ac:chgData name="Thomas Stensitzki" userId="75cafe6b-2f2a-469b-85c4-eec3b9c972ba" providerId="ADAL" clId="{20DBE477-A6EA-416C-A703-7F6801C4C8C8}" dt="2022-08-14T13:18:13.703" v="1006" actId="790"/>
          <ac:spMkLst>
            <pc:docMk/>
            <pc:sldMk cId="2419684727" sldId="2147470017"/>
            <ac:spMk id="3" creationId="{FFC3FDEC-540B-9360-C242-45D6A00FBAEE}"/>
          </ac:spMkLst>
        </pc:spChg>
      </pc:sldChg>
      <pc:sldChg chg="addSp delSp modSp new mod modClrScheme modAnim chgLayout modNotes">
        <pc:chgData name="Thomas Stensitzki" userId="75cafe6b-2f2a-469b-85c4-eec3b9c972ba" providerId="ADAL" clId="{20DBE477-A6EA-416C-A703-7F6801C4C8C8}" dt="2022-08-14T13:18:13.718" v="1025" actId="790"/>
        <pc:sldMkLst>
          <pc:docMk/>
          <pc:sldMk cId="1528449249" sldId="2147470018"/>
        </pc:sldMkLst>
        <pc:spChg chg="del mod ord">
          <ac:chgData name="Thomas Stensitzki" userId="75cafe6b-2f2a-469b-85c4-eec3b9c972ba" providerId="ADAL" clId="{20DBE477-A6EA-416C-A703-7F6801C4C8C8}" dt="2022-08-14T13:12:40.942" v="867" actId="700"/>
          <ac:spMkLst>
            <pc:docMk/>
            <pc:sldMk cId="1528449249" sldId="2147470018"/>
            <ac:spMk id="2" creationId="{53B65A66-8812-1800-227E-4C293BF9C1D5}"/>
          </ac:spMkLst>
        </pc:spChg>
        <pc:spChg chg="del">
          <ac:chgData name="Thomas Stensitzki" userId="75cafe6b-2f2a-469b-85c4-eec3b9c972ba" providerId="ADAL" clId="{20DBE477-A6EA-416C-A703-7F6801C4C8C8}" dt="2022-08-14T13:12:40.942" v="867" actId="700"/>
          <ac:spMkLst>
            <pc:docMk/>
            <pc:sldMk cId="1528449249" sldId="2147470018"/>
            <ac:spMk id="3" creationId="{08575473-5368-781A-D341-2FFC9B63B0BE}"/>
          </ac:spMkLst>
        </pc:spChg>
        <pc:spChg chg="add mod ord">
          <ac:chgData name="Thomas Stensitzki" userId="75cafe6b-2f2a-469b-85c4-eec3b9c972ba" providerId="ADAL" clId="{20DBE477-A6EA-416C-A703-7F6801C4C8C8}" dt="2022-08-14T13:18:13.706" v="1009" actId="790"/>
          <ac:spMkLst>
            <pc:docMk/>
            <pc:sldMk cId="1528449249" sldId="2147470018"/>
            <ac:spMk id="4" creationId="{71070771-0530-6372-FCA2-5119510828BA}"/>
          </ac:spMkLst>
        </pc:spChg>
        <pc:spChg chg="mod">
          <ac:chgData name="Thomas Stensitzki" userId="75cafe6b-2f2a-469b-85c4-eec3b9c972ba" providerId="ADAL" clId="{20DBE477-A6EA-416C-A703-7F6801C4C8C8}" dt="2022-08-14T13:18:13.707" v="1010" actId="790"/>
          <ac:spMkLst>
            <pc:docMk/>
            <pc:sldMk cId="1528449249" sldId="2147470018"/>
            <ac:spMk id="6" creationId="{AAF70B21-651C-7D5C-D2A2-C8985DEC27D6}"/>
          </ac:spMkLst>
        </pc:spChg>
        <pc:spChg chg="mod">
          <ac:chgData name="Thomas Stensitzki" userId="75cafe6b-2f2a-469b-85c4-eec3b9c972ba" providerId="ADAL" clId="{20DBE477-A6EA-416C-A703-7F6801C4C8C8}" dt="2022-08-14T13:18:13.707" v="1011" actId="790"/>
          <ac:spMkLst>
            <pc:docMk/>
            <pc:sldMk cId="1528449249" sldId="2147470018"/>
            <ac:spMk id="7" creationId="{F0BD565F-2223-A248-0A39-4628BFD74055}"/>
          </ac:spMkLst>
        </pc:spChg>
        <pc:spChg chg="mod">
          <ac:chgData name="Thomas Stensitzki" userId="75cafe6b-2f2a-469b-85c4-eec3b9c972ba" providerId="ADAL" clId="{20DBE477-A6EA-416C-A703-7F6801C4C8C8}" dt="2022-08-14T13:18:13.708" v="1012" actId="790"/>
          <ac:spMkLst>
            <pc:docMk/>
            <pc:sldMk cId="1528449249" sldId="2147470018"/>
            <ac:spMk id="9" creationId="{A874F4C4-5111-B04A-51E5-4CB1852AE22E}"/>
          </ac:spMkLst>
        </pc:spChg>
        <pc:spChg chg="mod">
          <ac:chgData name="Thomas Stensitzki" userId="75cafe6b-2f2a-469b-85c4-eec3b9c972ba" providerId="ADAL" clId="{20DBE477-A6EA-416C-A703-7F6801C4C8C8}" dt="2022-08-14T13:18:13.709" v="1013" actId="790"/>
          <ac:spMkLst>
            <pc:docMk/>
            <pc:sldMk cId="1528449249" sldId="2147470018"/>
            <ac:spMk id="10" creationId="{B904C036-B390-2A7D-85DB-6DEE49EE154A}"/>
          </ac:spMkLst>
        </pc:spChg>
        <pc:spChg chg="add mod">
          <ac:chgData name="Thomas Stensitzki" userId="75cafe6b-2f2a-469b-85c4-eec3b9c972ba" providerId="ADAL" clId="{20DBE477-A6EA-416C-A703-7F6801C4C8C8}" dt="2022-08-14T13:18:13.709" v="1014"/>
          <ac:spMkLst>
            <pc:docMk/>
            <pc:sldMk cId="1528449249" sldId="2147470018"/>
            <ac:spMk id="11" creationId="{6AFF8E4D-5264-6876-0506-5D54EBD4AD59}"/>
          </ac:spMkLst>
        </pc:spChg>
        <pc:spChg chg="mod">
          <ac:chgData name="Thomas Stensitzki" userId="75cafe6b-2f2a-469b-85c4-eec3b9c972ba" providerId="ADAL" clId="{20DBE477-A6EA-416C-A703-7F6801C4C8C8}" dt="2022-08-14T13:18:13.711" v="1015" actId="790"/>
          <ac:spMkLst>
            <pc:docMk/>
            <pc:sldMk cId="1528449249" sldId="2147470018"/>
            <ac:spMk id="13" creationId="{A99DFDE5-FBCD-FCEA-586A-217E91FFDAC6}"/>
          </ac:spMkLst>
        </pc:spChg>
        <pc:spChg chg="mod">
          <ac:chgData name="Thomas Stensitzki" userId="75cafe6b-2f2a-469b-85c4-eec3b9c972ba" providerId="ADAL" clId="{20DBE477-A6EA-416C-A703-7F6801C4C8C8}" dt="2022-08-14T13:18:13.712" v="1016" actId="790"/>
          <ac:spMkLst>
            <pc:docMk/>
            <pc:sldMk cId="1528449249" sldId="2147470018"/>
            <ac:spMk id="14" creationId="{65EB3A91-82F0-6C7C-6E43-AE313F0AE8CE}"/>
          </ac:spMkLst>
        </pc:spChg>
        <pc:spChg chg="mod">
          <ac:chgData name="Thomas Stensitzki" userId="75cafe6b-2f2a-469b-85c4-eec3b9c972ba" providerId="ADAL" clId="{20DBE477-A6EA-416C-A703-7F6801C4C8C8}" dt="2022-08-14T13:18:13.712" v="1017" actId="790"/>
          <ac:spMkLst>
            <pc:docMk/>
            <pc:sldMk cId="1528449249" sldId="2147470018"/>
            <ac:spMk id="16" creationId="{90E0FD90-5817-8DB9-B922-14FD6A8D2274}"/>
          </ac:spMkLst>
        </pc:spChg>
        <pc:spChg chg="mod">
          <ac:chgData name="Thomas Stensitzki" userId="75cafe6b-2f2a-469b-85c4-eec3b9c972ba" providerId="ADAL" clId="{20DBE477-A6EA-416C-A703-7F6801C4C8C8}" dt="2022-08-14T13:18:13.714" v="1018" actId="790"/>
          <ac:spMkLst>
            <pc:docMk/>
            <pc:sldMk cId="1528449249" sldId="2147470018"/>
            <ac:spMk id="17" creationId="{0646731D-0401-18A4-A535-BF98430F83FB}"/>
          </ac:spMkLst>
        </pc:spChg>
        <pc:spChg chg="add mod">
          <ac:chgData name="Thomas Stensitzki" userId="75cafe6b-2f2a-469b-85c4-eec3b9c972ba" providerId="ADAL" clId="{20DBE477-A6EA-416C-A703-7F6801C4C8C8}" dt="2022-08-14T13:18:13.715" v="1019"/>
          <ac:spMkLst>
            <pc:docMk/>
            <pc:sldMk cId="1528449249" sldId="2147470018"/>
            <ac:spMk id="18" creationId="{C527F8DB-987F-3C01-D588-C8B7192626A5}"/>
          </ac:spMkLst>
        </pc:spChg>
        <pc:spChg chg="add mod">
          <ac:chgData name="Thomas Stensitzki" userId="75cafe6b-2f2a-469b-85c4-eec3b9c972ba" providerId="ADAL" clId="{20DBE477-A6EA-416C-A703-7F6801C4C8C8}" dt="2022-08-14T13:18:13.715" v="1020"/>
          <ac:spMkLst>
            <pc:docMk/>
            <pc:sldMk cId="1528449249" sldId="2147470018"/>
            <ac:spMk id="19" creationId="{69DD4AD5-75A7-378B-7A1C-C7EE1BF52901}"/>
          </ac:spMkLst>
        </pc:spChg>
        <pc:spChg chg="add mod">
          <ac:chgData name="Thomas Stensitzki" userId="75cafe6b-2f2a-469b-85c4-eec3b9c972ba" providerId="ADAL" clId="{20DBE477-A6EA-416C-A703-7F6801C4C8C8}" dt="2022-08-14T13:18:13.715" v="1021"/>
          <ac:spMkLst>
            <pc:docMk/>
            <pc:sldMk cId="1528449249" sldId="2147470018"/>
            <ac:spMk id="20" creationId="{088A6A32-853B-24DD-34FC-9B6E69AB040C}"/>
          </ac:spMkLst>
        </pc:spChg>
        <pc:spChg chg="add mod">
          <ac:chgData name="Thomas Stensitzki" userId="75cafe6b-2f2a-469b-85c4-eec3b9c972ba" providerId="ADAL" clId="{20DBE477-A6EA-416C-A703-7F6801C4C8C8}" dt="2022-08-14T13:18:13.715" v="1022"/>
          <ac:spMkLst>
            <pc:docMk/>
            <pc:sldMk cId="1528449249" sldId="2147470018"/>
            <ac:spMk id="21" creationId="{DD6CF6DA-4B35-DC16-F01A-7DB099F85F20}"/>
          </ac:spMkLst>
        </pc:spChg>
        <pc:spChg chg="add mod">
          <ac:chgData name="Thomas Stensitzki" userId="75cafe6b-2f2a-469b-85c4-eec3b9c972ba" providerId="ADAL" clId="{20DBE477-A6EA-416C-A703-7F6801C4C8C8}" dt="2022-08-14T13:18:13.716" v="1023"/>
          <ac:spMkLst>
            <pc:docMk/>
            <pc:sldMk cId="1528449249" sldId="2147470018"/>
            <ac:spMk id="22" creationId="{FED91C2C-91E6-614F-577B-8C3D95BDF675}"/>
          </ac:spMkLst>
        </pc:spChg>
        <pc:grpChg chg="add mod">
          <ac:chgData name="Thomas Stensitzki" userId="75cafe6b-2f2a-469b-85c4-eec3b9c972ba" providerId="ADAL" clId="{20DBE477-A6EA-416C-A703-7F6801C4C8C8}" dt="2022-08-14T13:13:12.793" v="869"/>
          <ac:grpSpMkLst>
            <pc:docMk/>
            <pc:sldMk cId="1528449249" sldId="2147470018"/>
            <ac:grpSpMk id="5" creationId="{553D93F8-B5A2-B1FB-5B40-D6915D5739ED}"/>
          </ac:grpSpMkLst>
        </pc:grpChg>
        <pc:grpChg chg="add mod">
          <ac:chgData name="Thomas Stensitzki" userId="75cafe6b-2f2a-469b-85c4-eec3b9c972ba" providerId="ADAL" clId="{20DBE477-A6EA-416C-A703-7F6801C4C8C8}" dt="2022-08-14T13:13:12.793" v="869"/>
          <ac:grpSpMkLst>
            <pc:docMk/>
            <pc:sldMk cId="1528449249" sldId="2147470018"/>
            <ac:grpSpMk id="8" creationId="{5B847C80-18EB-8E40-7A09-D5399E565A40}"/>
          </ac:grpSpMkLst>
        </pc:grpChg>
        <pc:grpChg chg="add mod">
          <ac:chgData name="Thomas Stensitzki" userId="75cafe6b-2f2a-469b-85c4-eec3b9c972ba" providerId="ADAL" clId="{20DBE477-A6EA-416C-A703-7F6801C4C8C8}" dt="2022-08-14T13:13:12.793" v="869"/>
          <ac:grpSpMkLst>
            <pc:docMk/>
            <pc:sldMk cId="1528449249" sldId="2147470018"/>
            <ac:grpSpMk id="12" creationId="{2F43ED9B-BDB8-A2B0-0982-57889CEF6E78}"/>
          </ac:grpSpMkLst>
        </pc:grpChg>
        <pc:grpChg chg="add mod">
          <ac:chgData name="Thomas Stensitzki" userId="75cafe6b-2f2a-469b-85c4-eec3b9c972ba" providerId="ADAL" clId="{20DBE477-A6EA-416C-A703-7F6801C4C8C8}" dt="2022-08-14T13:13:12.793" v="869"/>
          <ac:grpSpMkLst>
            <pc:docMk/>
            <pc:sldMk cId="1528449249" sldId="2147470018"/>
            <ac:grpSpMk id="15" creationId="{C1776F34-D8F7-029C-604A-E9AA126E2A3E}"/>
          </ac:grpSpMkLst>
        </pc:grpChg>
      </pc:sldChg>
      <pc:sldChg chg="modSp add mod ord modAnim modNotes">
        <pc:chgData name="Thomas Stensitzki" userId="75cafe6b-2f2a-469b-85c4-eec3b9c972ba" providerId="ADAL" clId="{20DBE477-A6EA-416C-A703-7F6801C4C8C8}" dt="2022-09-09T08:03:58.341" v="3547"/>
        <pc:sldMkLst>
          <pc:docMk/>
          <pc:sldMk cId="3387004844" sldId="2147470019"/>
        </pc:sldMkLst>
        <pc:spChg chg="mod">
          <ac:chgData name="Thomas Stensitzki" userId="75cafe6b-2f2a-469b-85c4-eec3b9c972ba" providerId="ADAL" clId="{20DBE477-A6EA-416C-A703-7F6801C4C8C8}" dt="2022-08-14T13:18:13.719" v="1026" actId="790"/>
          <ac:spMkLst>
            <pc:docMk/>
            <pc:sldMk cId="3387004844" sldId="2147470019"/>
            <ac:spMk id="2" creationId="{33455E47-6DDC-16C9-6413-8ADADBA3C43F}"/>
          </ac:spMkLst>
        </pc:spChg>
        <pc:spChg chg="mod">
          <ac:chgData name="Thomas Stensitzki" userId="75cafe6b-2f2a-469b-85c4-eec3b9c972ba" providerId="ADAL" clId="{20DBE477-A6EA-416C-A703-7F6801C4C8C8}" dt="2022-09-05T17:45:07.581" v="2943" actId="6549"/>
          <ac:spMkLst>
            <pc:docMk/>
            <pc:sldMk cId="3387004844" sldId="2147470019"/>
            <ac:spMk id="3" creationId="{FFC3FDEC-540B-9360-C242-45D6A00FBAEE}"/>
          </ac:spMkLst>
        </pc:spChg>
      </pc:sldChg>
      <pc:sldChg chg="new del">
        <pc:chgData name="Thomas Stensitzki" userId="75cafe6b-2f2a-469b-85c4-eec3b9c972ba" providerId="ADAL" clId="{20DBE477-A6EA-416C-A703-7F6801C4C8C8}" dt="2022-09-03T14:44:16.055" v="2804" actId="47"/>
        <pc:sldMkLst>
          <pc:docMk/>
          <pc:sldMk cId="483871160" sldId="2147470020"/>
        </pc:sldMkLst>
      </pc:sldChg>
      <pc:sldChg chg="addSp delSp modSp new mod modClrScheme modAnim chgLayout">
        <pc:chgData name="Thomas Stensitzki" userId="75cafe6b-2f2a-469b-85c4-eec3b9c972ba" providerId="ADAL" clId="{20DBE477-A6EA-416C-A703-7F6801C4C8C8}" dt="2022-08-14T13:22:54.146" v="1092" actId="207"/>
        <pc:sldMkLst>
          <pc:docMk/>
          <pc:sldMk cId="51405737" sldId="2147470021"/>
        </pc:sldMkLst>
        <pc:spChg chg="del mod ord">
          <ac:chgData name="Thomas Stensitzki" userId="75cafe6b-2f2a-469b-85c4-eec3b9c972ba" providerId="ADAL" clId="{20DBE477-A6EA-416C-A703-7F6801C4C8C8}" dt="2022-08-14T13:18:32.851" v="1051" actId="700"/>
          <ac:spMkLst>
            <pc:docMk/>
            <pc:sldMk cId="51405737" sldId="2147470021"/>
            <ac:spMk id="2" creationId="{16C4AF77-8A8E-D968-CCA0-ACB2DD14F1B5}"/>
          </ac:spMkLst>
        </pc:spChg>
        <pc:spChg chg="del">
          <ac:chgData name="Thomas Stensitzki" userId="75cafe6b-2f2a-469b-85c4-eec3b9c972ba" providerId="ADAL" clId="{20DBE477-A6EA-416C-A703-7F6801C4C8C8}" dt="2022-08-14T13:18:32.851" v="1051" actId="700"/>
          <ac:spMkLst>
            <pc:docMk/>
            <pc:sldMk cId="51405737" sldId="2147470021"/>
            <ac:spMk id="3" creationId="{ABC9FECA-72A8-F078-3383-44B580BCCD3A}"/>
          </ac:spMkLst>
        </pc:spChg>
        <pc:spChg chg="add mod ord">
          <ac:chgData name="Thomas Stensitzki" userId="75cafe6b-2f2a-469b-85c4-eec3b9c972ba" providerId="ADAL" clId="{20DBE477-A6EA-416C-A703-7F6801C4C8C8}" dt="2022-08-14T13:18:39.827" v="1052"/>
          <ac:spMkLst>
            <pc:docMk/>
            <pc:sldMk cId="51405737" sldId="2147470021"/>
            <ac:spMk id="4" creationId="{FCA82926-F348-279C-8487-8F7851B80E8F}"/>
          </ac:spMkLst>
        </pc:spChg>
        <pc:spChg chg="add mod">
          <ac:chgData name="Thomas Stensitzki" userId="75cafe6b-2f2a-469b-85c4-eec3b9c972ba" providerId="ADAL" clId="{20DBE477-A6EA-416C-A703-7F6801C4C8C8}" dt="2022-08-14T13:20:10.727" v="1068" actId="208"/>
          <ac:spMkLst>
            <pc:docMk/>
            <pc:sldMk cId="51405737" sldId="2147470021"/>
            <ac:spMk id="5" creationId="{F55D56BE-44FD-DE4A-DE6A-F8A24752A820}"/>
          </ac:spMkLst>
        </pc:spChg>
        <pc:spChg chg="mod">
          <ac:chgData name="Thomas Stensitzki" userId="75cafe6b-2f2a-469b-85c4-eec3b9c972ba" providerId="ADAL" clId="{20DBE477-A6EA-416C-A703-7F6801C4C8C8}" dt="2022-08-14T13:20:48.307" v="1072" actId="207"/>
          <ac:spMkLst>
            <pc:docMk/>
            <pc:sldMk cId="51405737" sldId="2147470021"/>
            <ac:spMk id="7" creationId="{07C9DCED-D133-DC7F-BBC0-1465C075BB26}"/>
          </ac:spMkLst>
        </pc:spChg>
        <pc:spChg chg="mod">
          <ac:chgData name="Thomas Stensitzki" userId="75cafe6b-2f2a-469b-85c4-eec3b9c972ba" providerId="ADAL" clId="{20DBE477-A6EA-416C-A703-7F6801C4C8C8}" dt="2022-08-14T13:21:19.591" v="1074" actId="207"/>
          <ac:spMkLst>
            <pc:docMk/>
            <pc:sldMk cId="51405737" sldId="2147470021"/>
            <ac:spMk id="8" creationId="{024BA648-A50A-0E07-3793-A6A5F4C996A6}"/>
          </ac:spMkLst>
        </pc:spChg>
        <pc:spChg chg="mod">
          <ac:chgData name="Thomas Stensitzki" userId="75cafe6b-2f2a-469b-85c4-eec3b9c972ba" providerId="ADAL" clId="{20DBE477-A6EA-416C-A703-7F6801C4C8C8}" dt="2022-08-14T13:20:58.516" v="1073" actId="207"/>
          <ac:spMkLst>
            <pc:docMk/>
            <pc:sldMk cId="51405737" sldId="2147470021"/>
            <ac:spMk id="10" creationId="{4F25D283-B55B-FA5A-98EC-82A13D3DB58E}"/>
          </ac:spMkLst>
        </pc:spChg>
        <pc:spChg chg="mod">
          <ac:chgData name="Thomas Stensitzki" userId="75cafe6b-2f2a-469b-85c4-eec3b9c972ba" providerId="ADAL" clId="{20DBE477-A6EA-416C-A703-7F6801C4C8C8}" dt="2022-08-14T13:21:53.986" v="1080" actId="1037"/>
          <ac:spMkLst>
            <pc:docMk/>
            <pc:sldMk cId="51405737" sldId="2147470021"/>
            <ac:spMk id="11" creationId="{8C206E6E-D13C-D6BE-12D2-4454448D65C8}"/>
          </ac:spMkLst>
        </pc:spChg>
        <pc:spChg chg="add mod">
          <ac:chgData name="Thomas Stensitzki" userId="75cafe6b-2f2a-469b-85c4-eec3b9c972ba" providerId="ADAL" clId="{20DBE477-A6EA-416C-A703-7F6801C4C8C8}" dt="2022-08-14T13:19:20.572" v="1064" actId="208"/>
          <ac:spMkLst>
            <pc:docMk/>
            <pc:sldMk cId="51405737" sldId="2147470021"/>
            <ac:spMk id="12" creationId="{01BEBBF4-01B7-96E5-8FA1-E3E51F292BC5}"/>
          </ac:spMkLst>
        </pc:spChg>
        <pc:spChg chg="add mod">
          <ac:chgData name="Thomas Stensitzki" userId="75cafe6b-2f2a-469b-85c4-eec3b9c972ba" providerId="ADAL" clId="{20DBE477-A6EA-416C-A703-7F6801C4C8C8}" dt="2022-08-14T13:19:20.572" v="1064" actId="208"/>
          <ac:spMkLst>
            <pc:docMk/>
            <pc:sldMk cId="51405737" sldId="2147470021"/>
            <ac:spMk id="13" creationId="{91AA35E4-7B17-6D32-6851-E7C0DEF11789}"/>
          </ac:spMkLst>
        </pc:spChg>
        <pc:spChg chg="mod">
          <ac:chgData name="Thomas Stensitzki" userId="75cafe6b-2f2a-469b-85c4-eec3b9c972ba" providerId="ADAL" clId="{20DBE477-A6EA-416C-A703-7F6801C4C8C8}" dt="2022-08-14T13:21:33.802" v="1078" actId="207"/>
          <ac:spMkLst>
            <pc:docMk/>
            <pc:sldMk cId="51405737" sldId="2147470021"/>
            <ac:spMk id="15" creationId="{FE0E81CE-9800-EB83-5D14-0AEBD4D14529}"/>
          </ac:spMkLst>
        </pc:spChg>
        <pc:spChg chg="mod">
          <ac:chgData name="Thomas Stensitzki" userId="75cafe6b-2f2a-469b-85c4-eec3b9c972ba" providerId="ADAL" clId="{20DBE477-A6EA-416C-A703-7F6801C4C8C8}" dt="2022-08-14T13:20:32.947" v="1069" actId="207"/>
          <ac:spMkLst>
            <pc:docMk/>
            <pc:sldMk cId="51405737" sldId="2147470021"/>
            <ac:spMk id="16" creationId="{6D3FC248-5E97-9CDE-3BB6-2F2730D7E3B7}"/>
          </ac:spMkLst>
        </pc:spChg>
        <pc:spChg chg="mod">
          <ac:chgData name="Thomas Stensitzki" userId="75cafe6b-2f2a-469b-85c4-eec3b9c972ba" providerId="ADAL" clId="{20DBE477-A6EA-416C-A703-7F6801C4C8C8}" dt="2022-08-14T13:20:43.734" v="1070" actId="207"/>
          <ac:spMkLst>
            <pc:docMk/>
            <pc:sldMk cId="51405737" sldId="2147470021"/>
            <ac:spMk id="18" creationId="{17012495-C6ED-55FD-5480-7B22E1C9DD19}"/>
          </ac:spMkLst>
        </pc:spChg>
        <pc:spChg chg="mod">
          <ac:chgData name="Thomas Stensitzki" userId="75cafe6b-2f2a-469b-85c4-eec3b9c972ba" providerId="ADAL" clId="{20DBE477-A6EA-416C-A703-7F6801C4C8C8}" dt="2022-08-14T13:21:31.129" v="1077" actId="207"/>
          <ac:spMkLst>
            <pc:docMk/>
            <pc:sldMk cId="51405737" sldId="2147470021"/>
            <ac:spMk id="19" creationId="{B5536C52-B035-8E62-38CC-2F817FFB2424}"/>
          </ac:spMkLst>
        </pc:spChg>
        <pc:spChg chg="mod">
          <ac:chgData name="Thomas Stensitzki" userId="75cafe6b-2f2a-469b-85c4-eec3b9c972ba" providerId="ADAL" clId="{20DBE477-A6EA-416C-A703-7F6801C4C8C8}" dt="2022-08-14T13:20:46.056" v="1071" actId="207"/>
          <ac:spMkLst>
            <pc:docMk/>
            <pc:sldMk cId="51405737" sldId="2147470021"/>
            <ac:spMk id="21" creationId="{680FB140-E28A-F7A0-0A69-45296A3E4F1F}"/>
          </ac:spMkLst>
        </pc:spChg>
        <pc:spChg chg="mod">
          <ac:chgData name="Thomas Stensitzki" userId="75cafe6b-2f2a-469b-85c4-eec3b9c972ba" providerId="ADAL" clId="{20DBE477-A6EA-416C-A703-7F6801C4C8C8}" dt="2022-08-14T13:21:28.135" v="1076" actId="207"/>
          <ac:spMkLst>
            <pc:docMk/>
            <pc:sldMk cId="51405737" sldId="2147470021"/>
            <ac:spMk id="22" creationId="{98D7891B-1D19-4ED4-B21A-1454CF04A564}"/>
          </ac:spMkLst>
        </pc:spChg>
        <pc:spChg chg="add mod">
          <ac:chgData name="Thomas Stensitzki" userId="75cafe6b-2f2a-469b-85c4-eec3b9c972ba" providerId="ADAL" clId="{20DBE477-A6EA-416C-A703-7F6801C4C8C8}" dt="2022-08-14T13:22:39.197" v="1087" actId="208"/>
          <ac:spMkLst>
            <pc:docMk/>
            <pc:sldMk cId="51405737" sldId="2147470021"/>
            <ac:spMk id="23" creationId="{5B61D582-8FC9-25DA-DB64-DDD0BFDF11A2}"/>
          </ac:spMkLst>
        </pc:spChg>
        <pc:spChg chg="add mod">
          <ac:chgData name="Thomas Stensitzki" userId="75cafe6b-2f2a-469b-85c4-eec3b9c972ba" providerId="ADAL" clId="{20DBE477-A6EA-416C-A703-7F6801C4C8C8}" dt="2022-08-14T13:22:43.094" v="1089" actId="208"/>
          <ac:spMkLst>
            <pc:docMk/>
            <pc:sldMk cId="51405737" sldId="2147470021"/>
            <ac:spMk id="24" creationId="{288108C1-F94D-6AC2-0E27-3E82B07D4429}"/>
          </ac:spMkLst>
        </pc:spChg>
        <pc:spChg chg="add mod">
          <ac:chgData name="Thomas Stensitzki" userId="75cafe6b-2f2a-469b-85c4-eec3b9c972ba" providerId="ADAL" clId="{20DBE477-A6EA-416C-A703-7F6801C4C8C8}" dt="2022-08-14T13:22:45.496" v="1090" actId="208"/>
          <ac:spMkLst>
            <pc:docMk/>
            <pc:sldMk cId="51405737" sldId="2147470021"/>
            <ac:spMk id="25" creationId="{09913EF0-7375-CC2D-FDE5-FD6EABECA1E3}"/>
          </ac:spMkLst>
        </pc:spChg>
        <pc:spChg chg="add mod">
          <ac:chgData name="Thomas Stensitzki" userId="75cafe6b-2f2a-469b-85c4-eec3b9c972ba" providerId="ADAL" clId="{20DBE477-A6EA-416C-A703-7F6801C4C8C8}" dt="2022-08-14T13:22:38.027" v="1086" actId="208"/>
          <ac:spMkLst>
            <pc:docMk/>
            <pc:sldMk cId="51405737" sldId="2147470021"/>
            <ac:spMk id="26" creationId="{8DE7E59E-8D65-F2EB-B639-ED0290EDA074}"/>
          </ac:spMkLst>
        </pc:spChg>
        <pc:spChg chg="add mod">
          <ac:chgData name="Thomas Stensitzki" userId="75cafe6b-2f2a-469b-85c4-eec3b9c972ba" providerId="ADAL" clId="{20DBE477-A6EA-416C-A703-7F6801C4C8C8}" dt="2022-08-14T13:22:54.146" v="1092" actId="207"/>
          <ac:spMkLst>
            <pc:docMk/>
            <pc:sldMk cId="51405737" sldId="2147470021"/>
            <ac:spMk id="27" creationId="{ADCF9F0E-E8DA-6C75-DB78-B97E67E651EF}"/>
          </ac:spMkLst>
        </pc:spChg>
        <pc:grpChg chg="add mod">
          <ac:chgData name="Thomas Stensitzki" userId="75cafe6b-2f2a-469b-85c4-eec3b9c972ba" providerId="ADAL" clId="{20DBE477-A6EA-416C-A703-7F6801C4C8C8}" dt="2022-08-14T13:19:00.571" v="1062" actId="1036"/>
          <ac:grpSpMkLst>
            <pc:docMk/>
            <pc:sldMk cId="51405737" sldId="2147470021"/>
            <ac:grpSpMk id="6" creationId="{A254E904-749C-72D1-A743-9BAF874023A4}"/>
          </ac:grpSpMkLst>
        </pc:grpChg>
        <pc:grpChg chg="add mod">
          <ac:chgData name="Thomas Stensitzki" userId="75cafe6b-2f2a-469b-85c4-eec3b9c972ba" providerId="ADAL" clId="{20DBE477-A6EA-416C-A703-7F6801C4C8C8}" dt="2022-08-14T13:19:00.571" v="1062" actId="1036"/>
          <ac:grpSpMkLst>
            <pc:docMk/>
            <pc:sldMk cId="51405737" sldId="2147470021"/>
            <ac:grpSpMk id="9" creationId="{564DFE03-E41C-E65D-C5AB-32930A1368B1}"/>
          </ac:grpSpMkLst>
        </pc:grpChg>
        <pc:grpChg chg="add mod">
          <ac:chgData name="Thomas Stensitzki" userId="75cafe6b-2f2a-469b-85c4-eec3b9c972ba" providerId="ADAL" clId="{20DBE477-A6EA-416C-A703-7F6801C4C8C8}" dt="2022-08-14T13:19:00.571" v="1062" actId="1036"/>
          <ac:grpSpMkLst>
            <pc:docMk/>
            <pc:sldMk cId="51405737" sldId="2147470021"/>
            <ac:grpSpMk id="14" creationId="{535C01D4-15E0-4B0D-1605-6C0C58338C3F}"/>
          </ac:grpSpMkLst>
        </pc:grpChg>
        <pc:grpChg chg="add mod">
          <ac:chgData name="Thomas Stensitzki" userId="75cafe6b-2f2a-469b-85c4-eec3b9c972ba" providerId="ADAL" clId="{20DBE477-A6EA-416C-A703-7F6801C4C8C8}" dt="2022-08-14T13:19:00.571" v="1062" actId="1036"/>
          <ac:grpSpMkLst>
            <pc:docMk/>
            <pc:sldMk cId="51405737" sldId="2147470021"/>
            <ac:grpSpMk id="17" creationId="{224AD549-5AF5-4717-6446-F71304D83834}"/>
          </ac:grpSpMkLst>
        </pc:grpChg>
        <pc:grpChg chg="add mod">
          <ac:chgData name="Thomas Stensitzki" userId="75cafe6b-2f2a-469b-85c4-eec3b9c972ba" providerId="ADAL" clId="{20DBE477-A6EA-416C-A703-7F6801C4C8C8}" dt="2022-08-14T13:19:00.571" v="1062" actId="1036"/>
          <ac:grpSpMkLst>
            <pc:docMk/>
            <pc:sldMk cId="51405737" sldId="2147470021"/>
            <ac:grpSpMk id="20" creationId="{CA308795-70DE-EEEA-A142-B7ECAD7BC630}"/>
          </ac:grpSpMkLst>
        </pc:grpChg>
      </pc:sldChg>
      <pc:sldChg chg="modSp add mod ord">
        <pc:chgData name="Thomas Stensitzki" userId="75cafe6b-2f2a-469b-85c4-eec3b9c972ba" providerId="ADAL" clId="{20DBE477-A6EA-416C-A703-7F6801C4C8C8}" dt="2022-08-14T13:24:46.798" v="1242" actId="20577"/>
        <pc:sldMkLst>
          <pc:docMk/>
          <pc:sldMk cId="2795829184" sldId="2147470022"/>
        </pc:sldMkLst>
        <pc:spChg chg="mod">
          <ac:chgData name="Thomas Stensitzki" userId="75cafe6b-2f2a-469b-85c4-eec3b9c972ba" providerId="ADAL" clId="{20DBE477-A6EA-416C-A703-7F6801C4C8C8}" dt="2022-08-14T13:24:46.798" v="1242" actId="20577"/>
          <ac:spMkLst>
            <pc:docMk/>
            <pc:sldMk cId="2795829184" sldId="2147470022"/>
            <ac:spMk id="6" creationId="{1BD4A6B4-6368-C2DB-40F8-1759652DE948}"/>
          </ac:spMkLst>
        </pc:spChg>
        <pc:spChg chg="mod">
          <ac:chgData name="Thomas Stensitzki" userId="75cafe6b-2f2a-469b-85c4-eec3b9c972ba" providerId="ADAL" clId="{20DBE477-A6EA-416C-A703-7F6801C4C8C8}" dt="2022-08-14T13:24:33.786" v="1212" actId="20577"/>
          <ac:spMkLst>
            <pc:docMk/>
            <pc:sldMk cId="2795829184" sldId="2147470022"/>
            <ac:spMk id="7" creationId="{0915B47D-7832-D55B-8B70-7951123E3AC6}"/>
          </ac:spMkLst>
        </pc:spChg>
      </pc:sldChg>
      <pc:sldChg chg="addSp delSp modSp new mod modClrScheme modAnim chgLayout">
        <pc:chgData name="Thomas Stensitzki" userId="75cafe6b-2f2a-469b-85c4-eec3b9c972ba" providerId="ADAL" clId="{20DBE477-A6EA-416C-A703-7F6801C4C8C8}" dt="2022-09-09T08:18:26.311" v="3552"/>
        <pc:sldMkLst>
          <pc:docMk/>
          <pc:sldMk cId="3924473070" sldId="2147470023"/>
        </pc:sldMkLst>
        <pc:spChg chg="del">
          <ac:chgData name="Thomas Stensitzki" userId="75cafe6b-2f2a-469b-85c4-eec3b9c972ba" providerId="ADAL" clId="{20DBE477-A6EA-416C-A703-7F6801C4C8C8}" dt="2022-08-14T13:25:10.424" v="1244" actId="700"/>
          <ac:spMkLst>
            <pc:docMk/>
            <pc:sldMk cId="3924473070" sldId="2147470023"/>
            <ac:spMk id="2" creationId="{A5BFC154-C7A9-6F53-AFC9-09E71A8199C2}"/>
          </ac:spMkLst>
        </pc:spChg>
        <pc:spChg chg="del mod ord">
          <ac:chgData name="Thomas Stensitzki" userId="75cafe6b-2f2a-469b-85c4-eec3b9c972ba" providerId="ADAL" clId="{20DBE477-A6EA-416C-A703-7F6801C4C8C8}" dt="2022-08-14T13:25:10.424" v="1244" actId="700"/>
          <ac:spMkLst>
            <pc:docMk/>
            <pc:sldMk cId="3924473070" sldId="2147470023"/>
            <ac:spMk id="3" creationId="{465FEDA3-3630-CE74-41DE-42105F8636A5}"/>
          </ac:spMkLst>
        </pc:spChg>
        <pc:spChg chg="del">
          <ac:chgData name="Thomas Stensitzki" userId="75cafe6b-2f2a-469b-85c4-eec3b9c972ba" providerId="ADAL" clId="{20DBE477-A6EA-416C-A703-7F6801C4C8C8}" dt="2022-08-14T13:25:10.424" v="1244" actId="700"/>
          <ac:spMkLst>
            <pc:docMk/>
            <pc:sldMk cId="3924473070" sldId="2147470023"/>
            <ac:spMk id="4" creationId="{908665DB-EE0B-73C5-45E1-A14A4510D077}"/>
          </ac:spMkLst>
        </pc:spChg>
        <pc:spChg chg="add mod ord">
          <ac:chgData name="Thomas Stensitzki" userId="75cafe6b-2f2a-469b-85c4-eec3b9c972ba" providerId="ADAL" clId="{20DBE477-A6EA-416C-A703-7F6801C4C8C8}" dt="2022-08-14T13:25:17.593" v="1245"/>
          <ac:spMkLst>
            <pc:docMk/>
            <pc:sldMk cId="3924473070" sldId="2147470023"/>
            <ac:spMk id="5" creationId="{13126358-D0BC-EC27-4954-398BA5DFD569}"/>
          </ac:spMkLst>
        </pc:spChg>
        <pc:spChg chg="add mod ord">
          <ac:chgData name="Thomas Stensitzki" userId="75cafe6b-2f2a-469b-85c4-eec3b9c972ba" providerId="ADAL" clId="{20DBE477-A6EA-416C-A703-7F6801C4C8C8}" dt="2022-08-14T13:25:25.274" v="1246"/>
          <ac:spMkLst>
            <pc:docMk/>
            <pc:sldMk cId="3924473070" sldId="2147470023"/>
            <ac:spMk id="6" creationId="{74A1C355-ED0A-966B-DB01-A167FDD0E61B}"/>
          </ac:spMkLst>
        </pc:spChg>
      </pc:sldChg>
      <pc:sldChg chg="addSp delSp modSp new mod modClrScheme modAnim chgLayout">
        <pc:chgData name="Thomas Stensitzki" userId="75cafe6b-2f2a-469b-85c4-eec3b9c972ba" providerId="ADAL" clId="{20DBE477-A6EA-416C-A703-7F6801C4C8C8}" dt="2022-09-03T14:39:46.547" v="2794" actId="1076"/>
        <pc:sldMkLst>
          <pc:docMk/>
          <pc:sldMk cId="44035758" sldId="2147470024"/>
        </pc:sldMkLst>
        <pc:spChg chg="mod ord">
          <ac:chgData name="Thomas Stensitzki" userId="75cafe6b-2f2a-469b-85c4-eec3b9c972ba" providerId="ADAL" clId="{20DBE477-A6EA-416C-A703-7F6801C4C8C8}" dt="2022-08-14T13:30:23.961" v="1249" actId="700"/>
          <ac:spMkLst>
            <pc:docMk/>
            <pc:sldMk cId="44035758" sldId="2147470024"/>
            <ac:spMk id="2" creationId="{DE39C8F2-B5CF-961F-5E5B-F8C0975994C8}"/>
          </ac:spMkLst>
        </pc:spChg>
        <pc:spChg chg="del">
          <ac:chgData name="Thomas Stensitzki" userId="75cafe6b-2f2a-469b-85c4-eec3b9c972ba" providerId="ADAL" clId="{20DBE477-A6EA-416C-A703-7F6801C4C8C8}" dt="2022-08-14T13:30:23.961" v="1249" actId="700"/>
          <ac:spMkLst>
            <pc:docMk/>
            <pc:sldMk cId="44035758" sldId="2147470024"/>
            <ac:spMk id="3" creationId="{41AD0FA8-C5AB-CFE4-34B3-8E49F3F02A74}"/>
          </ac:spMkLst>
        </pc:spChg>
        <pc:spChg chg="add mod">
          <ac:chgData name="Thomas Stensitzki" userId="75cafe6b-2f2a-469b-85c4-eec3b9c972ba" providerId="ADAL" clId="{20DBE477-A6EA-416C-A703-7F6801C4C8C8}" dt="2022-08-14T13:31:08.902" v="1283" actId="207"/>
          <ac:spMkLst>
            <pc:docMk/>
            <pc:sldMk cId="44035758" sldId="2147470024"/>
            <ac:spMk id="4" creationId="{A7589A5E-8288-674F-13A7-B25DCE54EA4E}"/>
          </ac:spMkLst>
        </pc:spChg>
        <pc:spChg chg="add mod">
          <ac:chgData name="Thomas Stensitzki" userId="75cafe6b-2f2a-469b-85c4-eec3b9c972ba" providerId="ADAL" clId="{20DBE477-A6EA-416C-A703-7F6801C4C8C8}" dt="2022-08-14T13:31:08.902" v="1283" actId="207"/>
          <ac:spMkLst>
            <pc:docMk/>
            <pc:sldMk cId="44035758" sldId="2147470024"/>
            <ac:spMk id="5" creationId="{38A7EBDA-978C-0717-C98B-3F62C1F769E4}"/>
          </ac:spMkLst>
        </pc:spChg>
        <pc:spChg chg="add mod">
          <ac:chgData name="Thomas Stensitzki" userId="75cafe6b-2f2a-469b-85c4-eec3b9c972ba" providerId="ADAL" clId="{20DBE477-A6EA-416C-A703-7F6801C4C8C8}" dt="2022-08-14T13:31:08.902" v="1283" actId="207"/>
          <ac:spMkLst>
            <pc:docMk/>
            <pc:sldMk cId="44035758" sldId="2147470024"/>
            <ac:spMk id="6" creationId="{64CF4947-9331-5789-B073-10FB2353BA82}"/>
          </ac:spMkLst>
        </pc:spChg>
        <pc:spChg chg="add mod">
          <ac:chgData name="Thomas Stensitzki" userId="75cafe6b-2f2a-469b-85c4-eec3b9c972ba" providerId="ADAL" clId="{20DBE477-A6EA-416C-A703-7F6801C4C8C8}" dt="2022-08-14T13:31:37.855" v="1284" actId="207"/>
          <ac:spMkLst>
            <pc:docMk/>
            <pc:sldMk cId="44035758" sldId="2147470024"/>
            <ac:spMk id="7" creationId="{A8A2BCA1-7E0F-862E-65C0-E07E7CDC6896}"/>
          </ac:spMkLst>
        </pc:spChg>
        <pc:spChg chg="add mod">
          <ac:chgData name="Thomas Stensitzki" userId="75cafe6b-2f2a-469b-85c4-eec3b9c972ba" providerId="ADAL" clId="{20DBE477-A6EA-416C-A703-7F6801C4C8C8}" dt="2022-08-14T13:31:37.855" v="1284" actId="207"/>
          <ac:spMkLst>
            <pc:docMk/>
            <pc:sldMk cId="44035758" sldId="2147470024"/>
            <ac:spMk id="8" creationId="{264C2B0D-CCD9-F09B-5234-BA0D6F0B6E1E}"/>
          </ac:spMkLst>
        </pc:spChg>
        <pc:spChg chg="mod">
          <ac:chgData name="Thomas Stensitzki" userId="75cafe6b-2f2a-469b-85c4-eec3b9c972ba" providerId="ADAL" clId="{20DBE477-A6EA-416C-A703-7F6801C4C8C8}" dt="2022-08-14T13:31:54.369" v="1286" actId="207"/>
          <ac:spMkLst>
            <pc:docMk/>
            <pc:sldMk cId="44035758" sldId="2147470024"/>
            <ac:spMk id="22" creationId="{58B46947-06C7-1975-0469-721C9DA96430}"/>
          </ac:spMkLst>
        </pc:spChg>
        <pc:spChg chg="mod">
          <ac:chgData name="Thomas Stensitzki" userId="75cafe6b-2f2a-469b-85c4-eec3b9c972ba" providerId="ADAL" clId="{20DBE477-A6EA-416C-A703-7F6801C4C8C8}" dt="2022-08-14T13:32:02.896" v="1289" actId="207"/>
          <ac:spMkLst>
            <pc:docMk/>
            <pc:sldMk cId="44035758" sldId="2147470024"/>
            <ac:spMk id="25" creationId="{580A5C42-214C-57EE-0179-817FB5E81660}"/>
          </ac:spMkLst>
        </pc:spChg>
        <pc:spChg chg="mod">
          <ac:chgData name="Thomas Stensitzki" userId="75cafe6b-2f2a-469b-85c4-eec3b9c972ba" providerId="ADAL" clId="{20DBE477-A6EA-416C-A703-7F6801C4C8C8}" dt="2022-08-14T13:31:51.309" v="1285" actId="207"/>
          <ac:spMkLst>
            <pc:docMk/>
            <pc:sldMk cId="44035758" sldId="2147470024"/>
            <ac:spMk id="28" creationId="{129DFBBE-89CD-B0B5-C269-93D2777E6264}"/>
          </ac:spMkLst>
        </pc:spChg>
        <pc:spChg chg="mod">
          <ac:chgData name="Thomas Stensitzki" userId="75cafe6b-2f2a-469b-85c4-eec3b9c972ba" providerId="ADAL" clId="{20DBE477-A6EA-416C-A703-7F6801C4C8C8}" dt="2022-08-14T13:31:59.190" v="1288" actId="207"/>
          <ac:spMkLst>
            <pc:docMk/>
            <pc:sldMk cId="44035758" sldId="2147470024"/>
            <ac:spMk id="31" creationId="{3B9F7BE1-8038-84F7-0FCA-4BBD821B91EE}"/>
          </ac:spMkLst>
        </pc:spChg>
        <pc:spChg chg="mod">
          <ac:chgData name="Thomas Stensitzki" userId="75cafe6b-2f2a-469b-85c4-eec3b9c972ba" providerId="ADAL" clId="{20DBE477-A6EA-416C-A703-7F6801C4C8C8}" dt="2022-08-14T13:32:22.773" v="1291" actId="207"/>
          <ac:spMkLst>
            <pc:docMk/>
            <pc:sldMk cId="44035758" sldId="2147470024"/>
            <ac:spMk id="34" creationId="{7BD737D3-8AF4-23E5-A1B2-55A9F47C8729}"/>
          </ac:spMkLst>
        </pc:spChg>
        <pc:spChg chg="mod">
          <ac:chgData name="Thomas Stensitzki" userId="75cafe6b-2f2a-469b-85c4-eec3b9c972ba" providerId="ADAL" clId="{20DBE477-A6EA-416C-A703-7F6801C4C8C8}" dt="2022-08-14T13:32:25.442" v="1292" actId="207"/>
          <ac:spMkLst>
            <pc:docMk/>
            <pc:sldMk cId="44035758" sldId="2147470024"/>
            <ac:spMk id="37" creationId="{6DDFF3C5-234D-33DC-9B52-31D451C52FB1}"/>
          </ac:spMkLst>
        </pc:spChg>
        <pc:spChg chg="mod">
          <ac:chgData name="Thomas Stensitzki" userId="75cafe6b-2f2a-469b-85c4-eec3b9c972ba" providerId="ADAL" clId="{20DBE477-A6EA-416C-A703-7F6801C4C8C8}" dt="2022-08-14T13:32:33.256" v="1295" actId="207"/>
          <ac:spMkLst>
            <pc:docMk/>
            <pc:sldMk cId="44035758" sldId="2147470024"/>
            <ac:spMk id="40" creationId="{D7D76B1E-C08D-DAEE-1525-449F72318E57}"/>
          </ac:spMkLst>
        </pc:spChg>
        <pc:spChg chg="mod">
          <ac:chgData name="Thomas Stensitzki" userId="75cafe6b-2f2a-469b-85c4-eec3b9c972ba" providerId="ADAL" clId="{20DBE477-A6EA-416C-A703-7F6801C4C8C8}" dt="2022-08-14T13:32:31.330" v="1294" actId="207"/>
          <ac:spMkLst>
            <pc:docMk/>
            <pc:sldMk cId="44035758" sldId="2147470024"/>
            <ac:spMk id="43" creationId="{A3893CEB-6C61-37CB-8689-9E0B59AB5586}"/>
          </ac:spMkLst>
        </pc:spChg>
        <pc:spChg chg="mod">
          <ac:chgData name="Thomas Stensitzki" userId="75cafe6b-2f2a-469b-85c4-eec3b9c972ba" providerId="ADAL" clId="{20DBE477-A6EA-416C-A703-7F6801C4C8C8}" dt="2022-08-14T13:32:29.493" v="1293" actId="207"/>
          <ac:spMkLst>
            <pc:docMk/>
            <pc:sldMk cId="44035758" sldId="2147470024"/>
            <ac:spMk id="46" creationId="{AC7C4CA2-9D02-31B6-3074-2DBB0F00FAD6}"/>
          </ac:spMkLst>
        </pc:spChg>
        <pc:spChg chg="mod">
          <ac:chgData name="Thomas Stensitzki" userId="75cafe6b-2f2a-469b-85c4-eec3b9c972ba" providerId="ADAL" clId="{20DBE477-A6EA-416C-A703-7F6801C4C8C8}" dt="2022-08-14T13:31:57.208" v="1287" actId="207"/>
          <ac:spMkLst>
            <pc:docMk/>
            <pc:sldMk cId="44035758" sldId="2147470024"/>
            <ac:spMk id="49" creationId="{D460050F-EA7A-C5B8-F919-B209B6EBB327}"/>
          </ac:spMkLst>
        </pc:spChg>
        <pc:spChg chg="mod">
          <ac:chgData name="Thomas Stensitzki" userId="75cafe6b-2f2a-469b-85c4-eec3b9c972ba" providerId="ADAL" clId="{20DBE477-A6EA-416C-A703-7F6801C4C8C8}" dt="2022-08-14T13:32:35.271" v="1296" actId="207"/>
          <ac:spMkLst>
            <pc:docMk/>
            <pc:sldMk cId="44035758" sldId="2147470024"/>
            <ac:spMk id="52" creationId="{0993B55B-B5A8-531D-475B-0B7D6B303F3D}"/>
          </ac:spMkLst>
        </pc:spChg>
        <pc:spChg chg="mod">
          <ac:chgData name="Thomas Stensitzki" userId="75cafe6b-2f2a-469b-85c4-eec3b9c972ba" providerId="ADAL" clId="{20DBE477-A6EA-416C-A703-7F6801C4C8C8}" dt="2022-08-14T13:32:05.673" v="1290" actId="207"/>
          <ac:spMkLst>
            <pc:docMk/>
            <pc:sldMk cId="44035758" sldId="2147470024"/>
            <ac:spMk id="55" creationId="{52A4F80D-4E0B-0809-E91A-22544DC63EFC}"/>
          </ac:spMkLst>
        </pc:s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21" creationId="{C3E44671-DFA8-3A70-4B49-F474728808ED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24" creationId="{F67BC86E-BCC3-48AE-199E-52F7420F449D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27" creationId="{963DA57C-C4CC-9014-C485-5578DEF9F1C9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30" creationId="{5619B267-8742-0EF4-A578-92DE3493A6D9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33" creationId="{8FC40A59-50B6-8F35-1549-247DF68453DC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36" creationId="{F9E73BCC-6D7F-A241-293C-478AFE841C68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39" creationId="{A21EA6E3-845D-31BA-F345-55960C5D4A15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42" creationId="{03DD6917-B52A-8FD9-03F0-34D1CFADB4C4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45" creationId="{2572224F-7465-D981-D3C4-4F41670192C8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48" creationId="{72D5FB5E-13F3-270A-C24C-CE8D5933ED3C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51" creationId="{DB6D6B6C-C76F-4747-FBC2-9527A9E53699}"/>
          </ac:grpSpMkLst>
        </pc:grpChg>
        <pc:grpChg chg="add mod">
          <ac:chgData name="Thomas Stensitzki" userId="75cafe6b-2f2a-469b-85c4-eec3b9c972ba" providerId="ADAL" clId="{20DBE477-A6EA-416C-A703-7F6801C4C8C8}" dt="2022-08-14T13:30:50.900" v="1282" actId="1037"/>
          <ac:grpSpMkLst>
            <pc:docMk/>
            <pc:sldMk cId="44035758" sldId="2147470024"/>
            <ac:grpSpMk id="54" creationId="{47B822BF-D801-1D11-8012-302D42FC245A}"/>
          </ac:grpSpMkLst>
        </pc:grp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23" creationId="{AE3E6E1A-8676-1569-7247-9172BC660718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26" creationId="{5421C61D-F08F-4A00-CB9A-821643975A38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29" creationId="{53B8282F-022F-8EA8-568B-3325DB6B23A9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32" creationId="{CD19AF40-5A39-0C71-55FF-5D322B5193E5}"/>
          </ac:picMkLst>
        </pc:picChg>
        <pc:picChg chg="mod">
          <ac:chgData name="Thomas Stensitzki" userId="75cafe6b-2f2a-469b-85c4-eec3b9c972ba" providerId="ADAL" clId="{20DBE477-A6EA-416C-A703-7F6801C4C8C8}" dt="2022-09-03T14:39:46.547" v="2794" actId="1076"/>
          <ac:picMkLst>
            <pc:docMk/>
            <pc:sldMk cId="44035758" sldId="2147470024"/>
            <ac:picMk id="35" creationId="{1A8DBEF8-EB31-C152-7FC6-070AB47F511C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38" creationId="{00019A28-03B5-970A-035E-F4E14BCC1779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41" creationId="{93C5B7C1-C876-40B3-07A1-4F47D983BBDC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44" creationId="{6F0E2AD7-69AB-359B-A49B-927A8E6ACEAD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47" creationId="{ED211E8C-DD20-49A6-F0DB-FDAE21B7288B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50" creationId="{1992B402-44EF-74CD-2E52-B5FC6F25D48D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53" creationId="{7ADB4AFA-0D2E-BC59-6212-791F33C0D8EC}"/>
          </ac:picMkLst>
        </pc:picChg>
        <pc:picChg chg="mod">
          <ac:chgData name="Thomas Stensitzki" userId="75cafe6b-2f2a-469b-85c4-eec3b9c972ba" providerId="ADAL" clId="{20DBE477-A6EA-416C-A703-7F6801C4C8C8}" dt="2022-08-14T13:30:43.887" v="1250"/>
          <ac:picMkLst>
            <pc:docMk/>
            <pc:sldMk cId="44035758" sldId="2147470024"/>
            <ac:picMk id="56" creationId="{14B1DBAD-3D82-14D1-58EA-428064A92C32}"/>
          </ac:picMkLst>
        </pc:picChg>
        <pc:cxnChg chg="add mod">
          <ac:chgData name="Thomas Stensitzki" userId="75cafe6b-2f2a-469b-85c4-eec3b9c972ba" providerId="ADAL" clId="{20DBE477-A6EA-416C-A703-7F6801C4C8C8}" dt="2022-08-14T13:33:31.487" v="1315" actId="1582"/>
          <ac:cxnSpMkLst>
            <pc:docMk/>
            <pc:sldMk cId="44035758" sldId="2147470024"/>
            <ac:cxnSpMk id="9" creationId="{3CD44F3F-1657-41CF-AA79-BC566E37DF8F}"/>
          </ac:cxnSpMkLst>
        </pc:cxnChg>
        <pc:cxnChg chg="add mod">
          <ac:chgData name="Thomas Stensitzki" userId="75cafe6b-2f2a-469b-85c4-eec3b9c972ba" providerId="ADAL" clId="{20DBE477-A6EA-416C-A703-7F6801C4C8C8}" dt="2022-08-14T13:33:33.242" v="1316" actId="1582"/>
          <ac:cxnSpMkLst>
            <pc:docMk/>
            <pc:sldMk cId="44035758" sldId="2147470024"/>
            <ac:cxnSpMk id="10" creationId="{7E874400-27B6-48CD-EBA5-2F43669793AE}"/>
          </ac:cxnSpMkLst>
        </pc:cxnChg>
        <pc:cxnChg chg="add mod">
          <ac:chgData name="Thomas Stensitzki" userId="75cafe6b-2f2a-469b-85c4-eec3b9c972ba" providerId="ADAL" clId="{20DBE477-A6EA-416C-A703-7F6801C4C8C8}" dt="2022-08-14T13:33:34.895" v="1317" actId="1582"/>
          <ac:cxnSpMkLst>
            <pc:docMk/>
            <pc:sldMk cId="44035758" sldId="2147470024"/>
            <ac:cxnSpMk id="11" creationId="{93B547A3-7B29-287E-5EA8-4C2E72ED13BF}"/>
          </ac:cxnSpMkLst>
        </pc:cxnChg>
        <pc:cxnChg chg="add mod">
          <ac:chgData name="Thomas Stensitzki" userId="75cafe6b-2f2a-469b-85c4-eec3b9c972ba" providerId="ADAL" clId="{20DBE477-A6EA-416C-A703-7F6801C4C8C8}" dt="2022-08-14T13:33:29.081" v="1314" actId="1582"/>
          <ac:cxnSpMkLst>
            <pc:docMk/>
            <pc:sldMk cId="44035758" sldId="2147470024"/>
            <ac:cxnSpMk id="12" creationId="{0616AAE4-8D40-5EC3-DFDF-91A70F0F8B2A}"/>
          </ac:cxnSpMkLst>
        </pc:cxnChg>
        <pc:cxnChg chg="add mod">
          <ac:chgData name="Thomas Stensitzki" userId="75cafe6b-2f2a-469b-85c4-eec3b9c972ba" providerId="ADAL" clId="{20DBE477-A6EA-416C-A703-7F6801C4C8C8}" dt="2022-08-14T13:33:25.399" v="1313" actId="1582"/>
          <ac:cxnSpMkLst>
            <pc:docMk/>
            <pc:sldMk cId="44035758" sldId="2147470024"/>
            <ac:cxnSpMk id="13" creationId="{CD320670-D81E-16D1-95BB-859EEFDF5C57}"/>
          </ac:cxnSpMkLst>
        </pc:cxnChg>
        <pc:cxnChg chg="add mod">
          <ac:chgData name="Thomas Stensitzki" userId="75cafe6b-2f2a-469b-85c4-eec3b9c972ba" providerId="ADAL" clId="{20DBE477-A6EA-416C-A703-7F6801C4C8C8}" dt="2022-08-14T13:33:23.756" v="1312" actId="1582"/>
          <ac:cxnSpMkLst>
            <pc:docMk/>
            <pc:sldMk cId="44035758" sldId="2147470024"/>
            <ac:cxnSpMk id="14" creationId="{A894BB10-18E2-D10F-52F8-DE62024BAB64}"/>
          </ac:cxnSpMkLst>
        </pc:cxnChg>
        <pc:cxnChg chg="add mod">
          <ac:chgData name="Thomas Stensitzki" userId="75cafe6b-2f2a-469b-85c4-eec3b9c972ba" providerId="ADAL" clId="{20DBE477-A6EA-416C-A703-7F6801C4C8C8}" dt="2022-08-14T13:33:36.180" v="1318" actId="1582"/>
          <ac:cxnSpMkLst>
            <pc:docMk/>
            <pc:sldMk cId="44035758" sldId="2147470024"/>
            <ac:cxnSpMk id="15" creationId="{C7E97590-917A-1860-C55C-D4A6A39A7529}"/>
          </ac:cxnSpMkLst>
        </pc:cxnChg>
        <pc:cxnChg chg="add mod">
          <ac:chgData name="Thomas Stensitzki" userId="75cafe6b-2f2a-469b-85c4-eec3b9c972ba" providerId="ADAL" clId="{20DBE477-A6EA-416C-A703-7F6801C4C8C8}" dt="2022-08-14T13:33:37.922" v="1319" actId="1582"/>
          <ac:cxnSpMkLst>
            <pc:docMk/>
            <pc:sldMk cId="44035758" sldId="2147470024"/>
            <ac:cxnSpMk id="16" creationId="{93196827-6296-D4CE-3BF6-AA7CFA7FC340}"/>
          </ac:cxnSpMkLst>
        </pc:cxnChg>
        <pc:cxnChg chg="add mod">
          <ac:chgData name="Thomas Stensitzki" userId="75cafe6b-2f2a-469b-85c4-eec3b9c972ba" providerId="ADAL" clId="{20DBE477-A6EA-416C-A703-7F6801C4C8C8}" dt="2022-08-14T13:33:39.510" v="1320" actId="1582"/>
          <ac:cxnSpMkLst>
            <pc:docMk/>
            <pc:sldMk cId="44035758" sldId="2147470024"/>
            <ac:cxnSpMk id="17" creationId="{69B2827A-70DB-AF18-B5EC-F5CEEAD69E20}"/>
          </ac:cxnSpMkLst>
        </pc:cxnChg>
        <pc:cxnChg chg="add mod">
          <ac:chgData name="Thomas Stensitzki" userId="75cafe6b-2f2a-469b-85c4-eec3b9c972ba" providerId="ADAL" clId="{20DBE477-A6EA-416C-A703-7F6801C4C8C8}" dt="2022-08-14T13:33:22.156" v="1311" actId="1582"/>
          <ac:cxnSpMkLst>
            <pc:docMk/>
            <pc:sldMk cId="44035758" sldId="2147470024"/>
            <ac:cxnSpMk id="18" creationId="{77560132-E5FE-255C-0FE9-1F169665DF66}"/>
          </ac:cxnSpMkLst>
        </pc:cxnChg>
        <pc:cxnChg chg="add mod">
          <ac:chgData name="Thomas Stensitzki" userId="75cafe6b-2f2a-469b-85c4-eec3b9c972ba" providerId="ADAL" clId="{20DBE477-A6EA-416C-A703-7F6801C4C8C8}" dt="2022-08-14T13:33:20.268" v="1310" actId="1582"/>
          <ac:cxnSpMkLst>
            <pc:docMk/>
            <pc:sldMk cId="44035758" sldId="2147470024"/>
            <ac:cxnSpMk id="19" creationId="{38979519-4DEB-D959-AFFF-CA0FB3CA0BC1}"/>
          </ac:cxnSpMkLst>
        </pc:cxnChg>
        <pc:cxnChg chg="add mod">
          <ac:chgData name="Thomas Stensitzki" userId="75cafe6b-2f2a-469b-85c4-eec3b9c972ba" providerId="ADAL" clId="{20DBE477-A6EA-416C-A703-7F6801C4C8C8}" dt="2022-08-14T13:33:18.323" v="1309" actId="1582"/>
          <ac:cxnSpMkLst>
            <pc:docMk/>
            <pc:sldMk cId="44035758" sldId="2147470024"/>
            <ac:cxnSpMk id="20" creationId="{11F45A4F-B9D8-4ECF-323F-4F3A965378E3}"/>
          </ac:cxnSpMkLst>
        </pc:cxnChg>
      </pc:sldChg>
      <pc:sldChg chg="addSp delSp modSp add mod modAnim">
        <pc:chgData name="Thomas Stensitzki" userId="75cafe6b-2f2a-469b-85c4-eec3b9c972ba" providerId="ADAL" clId="{20DBE477-A6EA-416C-A703-7F6801C4C8C8}" dt="2022-09-06T09:12:18.250" v="2949" actId="113"/>
        <pc:sldMkLst>
          <pc:docMk/>
          <pc:sldMk cId="3842640550" sldId="2147470025"/>
        </pc:sldMkLst>
        <pc:spChg chg="del mod topLvl">
          <ac:chgData name="Thomas Stensitzki" userId="75cafe6b-2f2a-469b-85c4-eec3b9c972ba" providerId="ADAL" clId="{20DBE477-A6EA-416C-A703-7F6801C4C8C8}" dt="2022-09-03T14:40:37.536" v="2798" actId="478"/>
          <ac:spMkLst>
            <pc:docMk/>
            <pc:sldMk cId="3842640550" sldId="2147470025"/>
            <ac:spMk id="34" creationId="{7BD737D3-8AF4-23E5-A1B2-55A9F47C8729}"/>
          </ac:spMkLst>
        </pc:spChg>
        <pc:spChg chg="add mod">
          <ac:chgData name="Thomas Stensitzki" userId="75cafe6b-2f2a-469b-85c4-eec3b9c972ba" providerId="ADAL" clId="{20DBE477-A6EA-416C-A703-7F6801C4C8C8}" dt="2022-09-06T09:12:18.250" v="2949" actId="113"/>
          <ac:spMkLst>
            <pc:docMk/>
            <pc:sldMk cId="3842640550" sldId="2147470025"/>
            <ac:spMk id="57" creationId="{4C61AF06-C6D0-8378-DD93-64F25064251F}"/>
          </ac:spMkLst>
        </pc:spChg>
        <pc:spChg chg="add mod">
          <ac:chgData name="Thomas Stensitzki" userId="75cafe6b-2f2a-469b-85c4-eec3b9c972ba" providerId="ADAL" clId="{20DBE477-A6EA-416C-A703-7F6801C4C8C8}" dt="2022-09-06T09:12:18.250" v="2949" actId="113"/>
          <ac:spMkLst>
            <pc:docMk/>
            <pc:sldMk cId="3842640550" sldId="2147470025"/>
            <ac:spMk id="58" creationId="{8A6C45B6-AD94-87F9-CB27-A08D2DD720BF}"/>
          </ac:spMkLst>
        </pc:spChg>
        <pc:spChg chg="add mod">
          <ac:chgData name="Thomas Stensitzki" userId="75cafe6b-2f2a-469b-85c4-eec3b9c972ba" providerId="ADAL" clId="{20DBE477-A6EA-416C-A703-7F6801C4C8C8}" dt="2022-09-06T09:12:18.250" v="2949" actId="113"/>
          <ac:spMkLst>
            <pc:docMk/>
            <pc:sldMk cId="3842640550" sldId="2147470025"/>
            <ac:spMk id="59" creationId="{2E19940F-5339-C2B1-8A65-592F4938DEDB}"/>
          </ac:spMkLst>
        </pc:spChg>
        <pc:spChg chg="mod">
          <ac:chgData name="Thomas Stensitzki" userId="75cafe6b-2f2a-469b-85c4-eec3b9c972ba" providerId="ADAL" clId="{20DBE477-A6EA-416C-A703-7F6801C4C8C8}" dt="2022-09-03T14:40:38.501" v="2799"/>
          <ac:spMkLst>
            <pc:docMk/>
            <pc:sldMk cId="3842640550" sldId="2147470025"/>
            <ac:spMk id="61" creationId="{31EF3619-2D28-E687-0E64-34EB8F489148}"/>
          </ac:spMkLst>
        </pc:spChg>
        <pc:grpChg chg="add del">
          <ac:chgData name="Thomas Stensitzki" userId="75cafe6b-2f2a-469b-85c4-eec3b9c972ba" providerId="ADAL" clId="{20DBE477-A6EA-416C-A703-7F6801C4C8C8}" dt="2022-09-03T14:40:28.803" v="2797" actId="478"/>
          <ac:grpSpMkLst>
            <pc:docMk/>
            <pc:sldMk cId="3842640550" sldId="2147470025"/>
            <ac:grpSpMk id="33" creationId="{8FC40A59-50B6-8F35-1549-247DF68453DC}"/>
          </ac:grpSpMkLst>
        </pc:grpChg>
        <pc:grpChg chg="add mod">
          <ac:chgData name="Thomas Stensitzki" userId="75cafe6b-2f2a-469b-85c4-eec3b9c972ba" providerId="ADAL" clId="{20DBE477-A6EA-416C-A703-7F6801C4C8C8}" dt="2022-09-03T14:40:38.501" v="2799"/>
          <ac:grpSpMkLst>
            <pc:docMk/>
            <pc:sldMk cId="3842640550" sldId="2147470025"/>
            <ac:grpSpMk id="60" creationId="{6F20FDCB-9523-9DBB-8586-E9618A88D131}"/>
          </ac:grpSpMkLst>
        </pc:grpChg>
        <pc:picChg chg="add del mod topLvl">
          <ac:chgData name="Thomas Stensitzki" userId="75cafe6b-2f2a-469b-85c4-eec3b9c972ba" providerId="ADAL" clId="{20DBE477-A6EA-416C-A703-7F6801C4C8C8}" dt="2022-09-03T14:40:28.803" v="2797" actId="478"/>
          <ac:picMkLst>
            <pc:docMk/>
            <pc:sldMk cId="3842640550" sldId="2147470025"/>
            <ac:picMk id="35" creationId="{1A8DBEF8-EB31-C152-7FC6-070AB47F511C}"/>
          </ac:picMkLst>
        </pc:picChg>
        <pc:picChg chg="mod">
          <ac:chgData name="Thomas Stensitzki" userId="75cafe6b-2f2a-469b-85c4-eec3b9c972ba" providerId="ADAL" clId="{20DBE477-A6EA-416C-A703-7F6801C4C8C8}" dt="2022-09-03T14:40:38.501" v="2799"/>
          <ac:picMkLst>
            <pc:docMk/>
            <pc:sldMk cId="3842640550" sldId="2147470025"/>
            <ac:picMk id="62" creationId="{B672CED2-3659-63EA-C47F-572549BBE522}"/>
          </ac:picMkLst>
        </pc:picChg>
        <pc:cxnChg chg="mod">
          <ac:chgData name="Thomas Stensitzki" userId="75cafe6b-2f2a-469b-85c4-eec3b9c972ba" providerId="ADAL" clId="{20DBE477-A6EA-416C-A703-7F6801C4C8C8}" dt="2022-09-03T14:40:37.536" v="2798" actId="478"/>
          <ac:cxnSpMkLst>
            <pc:docMk/>
            <pc:sldMk cId="3842640550" sldId="2147470025"/>
            <ac:cxnSpMk id="9" creationId="{3CD44F3F-1657-41CF-AA79-BC566E37DF8F}"/>
          </ac:cxnSpMkLst>
        </pc:cxnChg>
        <pc:cxnChg chg="mod">
          <ac:chgData name="Thomas Stensitzki" userId="75cafe6b-2f2a-469b-85c4-eec3b9c972ba" providerId="ADAL" clId="{20DBE477-A6EA-416C-A703-7F6801C4C8C8}" dt="2022-09-03T14:40:37.536" v="2798" actId="478"/>
          <ac:cxnSpMkLst>
            <pc:docMk/>
            <pc:sldMk cId="3842640550" sldId="2147470025"/>
            <ac:cxnSpMk id="12" creationId="{0616AAE4-8D40-5EC3-DFDF-91A70F0F8B2A}"/>
          </ac:cxnSpMkLst>
        </pc:cxnChg>
      </pc:sldChg>
      <pc:sldChg chg="addSp delSp modSp add mod ord delAnim modAnim">
        <pc:chgData name="Thomas Stensitzki" userId="75cafe6b-2f2a-469b-85c4-eec3b9c972ba" providerId="ADAL" clId="{20DBE477-A6EA-416C-A703-7F6801C4C8C8}" dt="2022-09-09T08:18:45.006" v="3554"/>
        <pc:sldMkLst>
          <pc:docMk/>
          <pc:sldMk cId="3539661297" sldId="2147470026"/>
        </pc:sldMkLst>
        <pc:spChg chg="add del mod">
          <ac:chgData name="Thomas Stensitzki" userId="75cafe6b-2f2a-469b-85c4-eec3b9c972ba" providerId="ADAL" clId="{20DBE477-A6EA-416C-A703-7F6801C4C8C8}" dt="2022-08-14T14:07:35.532" v="1359" actId="478"/>
          <ac:spMkLst>
            <pc:docMk/>
            <pc:sldMk cId="3539661297" sldId="2147470026"/>
            <ac:spMk id="4" creationId="{65F52C74-97D5-C53E-4E51-D7BFA01D6D57}"/>
          </ac:spMkLst>
        </pc:spChg>
        <pc:spChg chg="mod">
          <ac:chgData name="Thomas Stensitzki" userId="75cafe6b-2f2a-469b-85c4-eec3b9c972ba" providerId="ADAL" clId="{20DBE477-A6EA-416C-A703-7F6801C4C8C8}" dt="2022-08-14T14:06:23.895" v="1351"/>
          <ac:spMkLst>
            <pc:docMk/>
            <pc:sldMk cId="3539661297" sldId="2147470026"/>
            <ac:spMk id="5" creationId="{13126358-D0BC-EC27-4954-398BA5DFD569}"/>
          </ac:spMkLst>
        </pc:spChg>
        <pc:spChg chg="mod">
          <ac:chgData name="Thomas Stensitzki" userId="75cafe6b-2f2a-469b-85c4-eec3b9c972ba" providerId="ADAL" clId="{20DBE477-A6EA-416C-A703-7F6801C4C8C8}" dt="2022-09-06T09:13:23.884" v="2952" actId="20577"/>
          <ac:spMkLst>
            <pc:docMk/>
            <pc:sldMk cId="3539661297" sldId="2147470026"/>
            <ac:spMk id="6" creationId="{74A1C355-ED0A-966B-DB01-A167FDD0E61B}"/>
          </ac:spMkLst>
        </pc:spChg>
      </pc:sldChg>
      <pc:sldChg chg="modSp add mod modAnim">
        <pc:chgData name="Thomas Stensitzki" userId="75cafe6b-2f2a-469b-85c4-eec3b9c972ba" providerId="ADAL" clId="{20DBE477-A6EA-416C-A703-7F6801C4C8C8}" dt="2022-09-09T08:19:37.449" v="3556"/>
        <pc:sldMkLst>
          <pc:docMk/>
          <pc:sldMk cId="3525249195" sldId="2147470027"/>
        </pc:sldMkLst>
        <pc:spChg chg="mod">
          <ac:chgData name="Thomas Stensitzki" userId="75cafe6b-2f2a-469b-85c4-eec3b9c972ba" providerId="ADAL" clId="{20DBE477-A6EA-416C-A703-7F6801C4C8C8}" dt="2022-08-27T12:17:09.563" v="2643" actId="6549"/>
          <ac:spMkLst>
            <pc:docMk/>
            <pc:sldMk cId="3525249195" sldId="2147470027"/>
            <ac:spMk id="6" creationId="{74A1C355-ED0A-966B-DB01-A167FDD0E61B}"/>
          </ac:spMkLst>
        </pc:spChg>
      </pc:sldChg>
      <pc:sldChg chg="addSp delSp modSp new mod modClrScheme modAnim modShow chgLayout">
        <pc:chgData name="Thomas Stensitzki" userId="75cafe6b-2f2a-469b-85c4-eec3b9c972ba" providerId="ADAL" clId="{20DBE477-A6EA-416C-A703-7F6801C4C8C8}" dt="2022-09-13T16:39:44.431" v="3581" actId="729"/>
        <pc:sldMkLst>
          <pc:docMk/>
          <pc:sldMk cId="429829933" sldId="2147470028"/>
        </pc:sldMkLst>
        <pc:spChg chg="del mod ord">
          <ac:chgData name="Thomas Stensitzki" userId="75cafe6b-2f2a-469b-85c4-eec3b9c972ba" providerId="ADAL" clId="{20DBE477-A6EA-416C-A703-7F6801C4C8C8}" dt="2022-08-14T14:08:29.197" v="1370" actId="700"/>
          <ac:spMkLst>
            <pc:docMk/>
            <pc:sldMk cId="429829933" sldId="2147470028"/>
            <ac:spMk id="2" creationId="{3717FA80-8EEA-EC02-239F-90FE665F68C7}"/>
          </ac:spMkLst>
        </pc:spChg>
        <pc:spChg chg="del">
          <ac:chgData name="Thomas Stensitzki" userId="75cafe6b-2f2a-469b-85c4-eec3b9c972ba" providerId="ADAL" clId="{20DBE477-A6EA-416C-A703-7F6801C4C8C8}" dt="2022-08-14T14:08:29.197" v="1370" actId="700"/>
          <ac:spMkLst>
            <pc:docMk/>
            <pc:sldMk cId="429829933" sldId="2147470028"/>
            <ac:spMk id="3" creationId="{8FD957D0-EB15-1A76-A9DC-7944180C1161}"/>
          </ac:spMkLst>
        </pc:spChg>
        <pc:spChg chg="add mod ord">
          <ac:chgData name="Thomas Stensitzki" userId="75cafe6b-2f2a-469b-85c4-eec3b9c972ba" providerId="ADAL" clId="{20DBE477-A6EA-416C-A703-7F6801C4C8C8}" dt="2022-08-14T14:08:36.009" v="1385" actId="20577"/>
          <ac:spMkLst>
            <pc:docMk/>
            <pc:sldMk cId="429829933" sldId="2147470028"/>
            <ac:spMk id="4" creationId="{16AE7023-AD56-DC13-97A3-2D41C015E24D}"/>
          </ac:spMkLst>
        </pc:spChg>
        <pc:spChg chg="add mod">
          <ac:chgData name="Thomas Stensitzki" userId="75cafe6b-2f2a-469b-85c4-eec3b9c972ba" providerId="ADAL" clId="{20DBE477-A6EA-416C-A703-7F6801C4C8C8}" dt="2022-08-14T14:08:53.356" v="1387" actId="208"/>
          <ac:spMkLst>
            <pc:docMk/>
            <pc:sldMk cId="429829933" sldId="2147470028"/>
            <ac:spMk id="6" creationId="{93AD15F8-D03E-F5FF-7540-7CCFEE3B2402}"/>
          </ac:spMkLst>
        </pc:spChg>
        <pc:spChg chg="add mod">
          <ac:chgData name="Thomas Stensitzki" userId="75cafe6b-2f2a-469b-85c4-eec3b9c972ba" providerId="ADAL" clId="{20DBE477-A6EA-416C-A703-7F6801C4C8C8}" dt="2022-08-14T14:08:53.356" v="1387" actId="208"/>
          <ac:spMkLst>
            <pc:docMk/>
            <pc:sldMk cId="429829933" sldId="2147470028"/>
            <ac:spMk id="7" creationId="{3A3F8B80-F260-051A-98A9-186111AE7152}"/>
          </ac:spMkLst>
        </pc:spChg>
        <pc:picChg chg="add mod">
          <ac:chgData name="Thomas Stensitzki" userId="75cafe6b-2f2a-469b-85c4-eec3b9c972ba" providerId="ADAL" clId="{20DBE477-A6EA-416C-A703-7F6801C4C8C8}" dt="2022-08-14T14:08:44.839" v="1386"/>
          <ac:picMkLst>
            <pc:docMk/>
            <pc:sldMk cId="429829933" sldId="2147470028"/>
            <ac:picMk id="5" creationId="{267DE4B7-10E8-DCF7-4424-34AD9F9C38CF}"/>
          </ac:picMkLst>
        </pc:picChg>
      </pc:sldChg>
      <pc:sldChg chg="addSp delSp modSp add mod delAnim modAnim">
        <pc:chgData name="Thomas Stensitzki" userId="75cafe6b-2f2a-469b-85c4-eec3b9c972ba" providerId="ADAL" clId="{20DBE477-A6EA-416C-A703-7F6801C4C8C8}" dt="2022-08-27T12:17:37.505" v="2647" actId="14100"/>
        <pc:sldMkLst>
          <pc:docMk/>
          <pc:sldMk cId="2698825966" sldId="2147470029"/>
        </pc:sldMkLst>
        <pc:spChg chg="mod">
          <ac:chgData name="Thomas Stensitzki" userId="75cafe6b-2f2a-469b-85c4-eec3b9c972ba" providerId="ADAL" clId="{20DBE477-A6EA-416C-A703-7F6801C4C8C8}" dt="2022-08-14T14:09:08.515" v="1397" actId="20577"/>
          <ac:spMkLst>
            <pc:docMk/>
            <pc:sldMk cId="2698825966" sldId="2147470029"/>
            <ac:spMk id="4" creationId="{16AE7023-AD56-DC13-97A3-2D41C015E24D}"/>
          </ac:spMkLst>
        </pc:spChg>
        <pc:spChg chg="del">
          <ac:chgData name="Thomas Stensitzki" userId="75cafe6b-2f2a-469b-85c4-eec3b9c972ba" providerId="ADAL" clId="{20DBE477-A6EA-416C-A703-7F6801C4C8C8}" dt="2022-08-14T14:09:12.037" v="1398" actId="478"/>
          <ac:spMkLst>
            <pc:docMk/>
            <pc:sldMk cId="2698825966" sldId="2147470029"/>
            <ac:spMk id="6" creationId="{93AD15F8-D03E-F5FF-7540-7CCFEE3B2402}"/>
          </ac:spMkLst>
        </pc:spChg>
        <pc:spChg chg="del">
          <ac:chgData name="Thomas Stensitzki" userId="75cafe6b-2f2a-469b-85c4-eec3b9c972ba" providerId="ADAL" clId="{20DBE477-A6EA-416C-A703-7F6801C4C8C8}" dt="2022-08-14T14:09:12.037" v="1398" actId="478"/>
          <ac:spMkLst>
            <pc:docMk/>
            <pc:sldMk cId="2698825966" sldId="2147470029"/>
            <ac:spMk id="7" creationId="{3A3F8B80-F260-051A-98A9-186111AE7152}"/>
          </ac:spMkLst>
        </pc:spChg>
        <pc:spChg chg="add mod">
          <ac:chgData name="Thomas Stensitzki" userId="75cafe6b-2f2a-469b-85c4-eec3b9c972ba" providerId="ADAL" clId="{20DBE477-A6EA-416C-A703-7F6801C4C8C8}" dt="2022-08-27T12:17:37.505" v="2647" actId="14100"/>
          <ac:spMkLst>
            <pc:docMk/>
            <pc:sldMk cId="2698825966" sldId="2147470029"/>
            <ac:spMk id="7" creationId="{BB92BE25-ABD7-A0B4-3929-E45783F4447D}"/>
          </ac:spMkLst>
        </pc:spChg>
        <pc:spChg chg="mod">
          <ac:chgData name="Thomas Stensitzki" userId="75cafe6b-2f2a-469b-85c4-eec3b9c972ba" providerId="ADAL" clId="{20DBE477-A6EA-416C-A703-7F6801C4C8C8}" dt="2022-08-14T14:09:21.093" v="1399"/>
          <ac:spMkLst>
            <pc:docMk/>
            <pc:sldMk cId="2698825966" sldId="2147470029"/>
            <ac:spMk id="10" creationId="{62A7AA21-E161-FFE9-7D8A-86A494414FFD}"/>
          </ac:spMkLst>
        </pc:spChg>
        <pc:grpChg chg="add mod">
          <ac:chgData name="Thomas Stensitzki" userId="75cafe6b-2f2a-469b-85c4-eec3b9c972ba" providerId="ADAL" clId="{20DBE477-A6EA-416C-A703-7F6801C4C8C8}" dt="2022-08-14T14:09:21.093" v="1399"/>
          <ac:grpSpMkLst>
            <pc:docMk/>
            <pc:sldMk cId="2698825966" sldId="2147470029"/>
            <ac:grpSpMk id="8" creationId="{7315DD2B-5AC8-3DCE-47EE-D42FC8A759F7}"/>
          </ac:grpSpMkLst>
        </pc:grpChg>
        <pc:picChg chg="del">
          <ac:chgData name="Thomas Stensitzki" userId="75cafe6b-2f2a-469b-85c4-eec3b9c972ba" providerId="ADAL" clId="{20DBE477-A6EA-416C-A703-7F6801C4C8C8}" dt="2022-08-14T14:09:12.037" v="1398" actId="478"/>
          <ac:picMkLst>
            <pc:docMk/>
            <pc:sldMk cId="2698825966" sldId="2147470029"/>
            <ac:picMk id="5" creationId="{267DE4B7-10E8-DCF7-4424-34AD9F9C38CF}"/>
          </ac:picMkLst>
        </pc:picChg>
        <pc:picChg chg="mod">
          <ac:chgData name="Thomas Stensitzki" userId="75cafe6b-2f2a-469b-85c4-eec3b9c972ba" providerId="ADAL" clId="{20DBE477-A6EA-416C-A703-7F6801C4C8C8}" dt="2022-08-14T14:09:21.093" v="1399"/>
          <ac:picMkLst>
            <pc:docMk/>
            <pc:sldMk cId="2698825966" sldId="2147470029"/>
            <ac:picMk id="9" creationId="{0FFA5D2C-CCE7-0ED0-0C9D-E0C54F67E76E}"/>
          </ac:picMkLst>
        </pc:picChg>
        <pc:picChg chg="add mod">
          <ac:chgData name="Thomas Stensitzki" userId="75cafe6b-2f2a-469b-85c4-eec3b9c972ba" providerId="ADAL" clId="{20DBE477-A6EA-416C-A703-7F6801C4C8C8}" dt="2022-08-14T14:09:21.093" v="1399"/>
          <ac:picMkLst>
            <pc:docMk/>
            <pc:sldMk cId="2698825966" sldId="2147470029"/>
            <ac:picMk id="11" creationId="{79AFEC00-CDD5-1535-30F5-B9DB80FE4320}"/>
          </ac:picMkLst>
        </pc:picChg>
      </pc:sldChg>
      <pc:sldChg chg="addSp delSp modSp add mod delAnim modAnim">
        <pc:chgData name="Thomas Stensitzki" userId="75cafe6b-2f2a-469b-85c4-eec3b9c972ba" providerId="ADAL" clId="{20DBE477-A6EA-416C-A703-7F6801C4C8C8}" dt="2022-08-14T14:10:43.726" v="1411" actId="14100"/>
        <pc:sldMkLst>
          <pc:docMk/>
          <pc:sldMk cId="190137797" sldId="2147470030"/>
        </pc:sldMkLst>
        <pc:spChg chg="add mod">
          <ac:chgData name="Thomas Stensitzki" userId="75cafe6b-2f2a-469b-85c4-eec3b9c972ba" providerId="ADAL" clId="{20DBE477-A6EA-416C-A703-7F6801C4C8C8}" dt="2022-08-14T14:10:43.726" v="1411" actId="14100"/>
          <ac:spMkLst>
            <pc:docMk/>
            <pc:sldMk cId="190137797" sldId="2147470030"/>
            <ac:spMk id="12" creationId="{593BD0D7-2867-B781-06F5-FF84080DCF86}"/>
          </ac:spMkLst>
        </pc:spChg>
        <pc:grpChg chg="del">
          <ac:chgData name="Thomas Stensitzki" userId="75cafe6b-2f2a-469b-85c4-eec3b9c972ba" providerId="ADAL" clId="{20DBE477-A6EA-416C-A703-7F6801C4C8C8}" dt="2022-08-14T14:09:49.485" v="1401" actId="478"/>
          <ac:grpSpMkLst>
            <pc:docMk/>
            <pc:sldMk cId="190137797" sldId="2147470030"/>
            <ac:grpSpMk id="8" creationId="{7315DD2B-5AC8-3DCE-47EE-D42FC8A759F7}"/>
          </ac:grpSpMkLst>
        </pc:grpChg>
        <pc:picChg chg="add mod">
          <ac:chgData name="Thomas Stensitzki" userId="75cafe6b-2f2a-469b-85c4-eec3b9c972ba" providerId="ADAL" clId="{20DBE477-A6EA-416C-A703-7F6801C4C8C8}" dt="2022-08-14T14:10:02.391" v="1403" actId="1076"/>
          <ac:picMkLst>
            <pc:docMk/>
            <pc:sldMk cId="190137797" sldId="2147470030"/>
            <ac:picMk id="7" creationId="{5D3D1E64-6BCC-A893-F4A0-E56EEBB72B78}"/>
          </ac:picMkLst>
        </pc:picChg>
        <pc:picChg chg="del">
          <ac:chgData name="Thomas Stensitzki" userId="75cafe6b-2f2a-469b-85c4-eec3b9c972ba" providerId="ADAL" clId="{20DBE477-A6EA-416C-A703-7F6801C4C8C8}" dt="2022-08-14T14:09:49.485" v="1401" actId="478"/>
          <ac:picMkLst>
            <pc:docMk/>
            <pc:sldMk cId="190137797" sldId="2147470030"/>
            <ac:picMk id="11" creationId="{79AFEC00-CDD5-1535-30F5-B9DB80FE4320}"/>
          </ac:picMkLst>
        </pc:picChg>
      </pc:sldChg>
      <pc:sldChg chg="addSp delSp modSp add mod delAnim modAnim">
        <pc:chgData name="Thomas Stensitzki" userId="75cafe6b-2f2a-469b-85c4-eec3b9c972ba" providerId="ADAL" clId="{20DBE477-A6EA-416C-A703-7F6801C4C8C8}" dt="2022-08-14T14:11:11.650" v="1416" actId="208"/>
        <pc:sldMkLst>
          <pc:docMk/>
          <pc:sldMk cId="2053272991" sldId="2147470031"/>
        </pc:sldMkLst>
        <pc:spChg chg="add mod">
          <ac:chgData name="Thomas Stensitzki" userId="75cafe6b-2f2a-469b-85c4-eec3b9c972ba" providerId="ADAL" clId="{20DBE477-A6EA-416C-A703-7F6801C4C8C8}" dt="2022-08-14T14:11:11.650" v="1416" actId="208"/>
          <ac:spMkLst>
            <pc:docMk/>
            <pc:sldMk cId="2053272991" sldId="2147470031"/>
            <ac:spMk id="6" creationId="{16D76891-238B-257D-9A2E-DAD90FA0682F}"/>
          </ac:spMkLst>
        </pc:spChg>
        <pc:spChg chg="add mod">
          <ac:chgData name="Thomas Stensitzki" userId="75cafe6b-2f2a-469b-85c4-eec3b9c972ba" providerId="ADAL" clId="{20DBE477-A6EA-416C-A703-7F6801C4C8C8}" dt="2022-08-14T14:11:11.650" v="1416" actId="208"/>
          <ac:spMkLst>
            <pc:docMk/>
            <pc:sldMk cId="2053272991" sldId="2147470031"/>
            <ac:spMk id="8" creationId="{4ACC2F18-3A7A-7216-6735-DFBA09157B6D}"/>
          </ac:spMkLst>
        </pc:spChg>
        <pc:spChg chg="del">
          <ac:chgData name="Thomas Stensitzki" userId="75cafe6b-2f2a-469b-85c4-eec3b9c972ba" providerId="ADAL" clId="{20DBE477-A6EA-416C-A703-7F6801C4C8C8}" dt="2022-08-14T14:11:00.490" v="1414" actId="478"/>
          <ac:spMkLst>
            <pc:docMk/>
            <pc:sldMk cId="2053272991" sldId="2147470031"/>
            <ac:spMk id="12" creationId="{593BD0D7-2867-B781-06F5-FF84080DCF86}"/>
          </ac:spMkLst>
        </pc:spChg>
        <pc:picChg chg="add mod">
          <ac:chgData name="Thomas Stensitzki" userId="75cafe6b-2f2a-469b-85c4-eec3b9c972ba" providerId="ADAL" clId="{20DBE477-A6EA-416C-A703-7F6801C4C8C8}" dt="2022-08-14T14:11:03.142" v="1415"/>
          <ac:picMkLst>
            <pc:docMk/>
            <pc:sldMk cId="2053272991" sldId="2147470031"/>
            <ac:picMk id="5" creationId="{3BE8633B-3C4C-8144-BA4E-03BDE6A2F9B0}"/>
          </ac:picMkLst>
        </pc:picChg>
        <pc:picChg chg="del">
          <ac:chgData name="Thomas Stensitzki" userId="75cafe6b-2f2a-469b-85c4-eec3b9c972ba" providerId="ADAL" clId="{20DBE477-A6EA-416C-A703-7F6801C4C8C8}" dt="2022-08-14T14:10:59.453" v="1413" actId="478"/>
          <ac:picMkLst>
            <pc:docMk/>
            <pc:sldMk cId="2053272991" sldId="2147470031"/>
            <ac:picMk id="7" creationId="{5D3D1E64-6BCC-A893-F4A0-E56EEBB72B78}"/>
          </ac:picMkLst>
        </pc:picChg>
      </pc:sldChg>
      <pc:sldChg chg="addSp delSp modSp add del mod delAnim modAnim">
        <pc:chgData name="Thomas Stensitzki" userId="75cafe6b-2f2a-469b-85c4-eec3b9c972ba" providerId="ADAL" clId="{20DBE477-A6EA-416C-A703-7F6801C4C8C8}" dt="2022-09-03T14:44:10.105" v="2802" actId="2696"/>
        <pc:sldMkLst>
          <pc:docMk/>
          <pc:sldMk cId="1933870206" sldId="2147470032"/>
        </pc:sldMkLst>
        <pc:spChg chg="del">
          <ac:chgData name="Thomas Stensitzki" userId="75cafe6b-2f2a-469b-85c4-eec3b9c972ba" providerId="ADAL" clId="{20DBE477-A6EA-416C-A703-7F6801C4C8C8}" dt="2022-08-14T14:11:30.413" v="1418" actId="478"/>
          <ac:spMkLst>
            <pc:docMk/>
            <pc:sldMk cId="1933870206" sldId="2147470032"/>
            <ac:spMk id="6" creationId="{16D76891-238B-257D-9A2E-DAD90FA0682F}"/>
          </ac:spMkLst>
        </pc:spChg>
        <pc:spChg chg="del">
          <ac:chgData name="Thomas Stensitzki" userId="75cafe6b-2f2a-469b-85c4-eec3b9c972ba" providerId="ADAL" clId="{20DBE477-A6EA-416C-A703-7F6801C4C8C8}" dt="2022-08-14T14:11:30.413" v="1418" actId="478"/>
          <ac:spMkLst>
            <pc:docMk/>
            <pc:sldMk cId="1933870206" sldId="2147470032"/>
            <ac:spMk id="8" creationId="{4ACC2F18-3A7A-7216-6735-DFBA09157B6D}"/>
          </ac:spMkLst>
        </pc:spChg>
        <pc:spChg chg="add mod">
          <ac:chgData name="Thomas Stensitzki" userId="75cafe6b-2f2a-469b-85c4-eec3b9c972ba" providerId="ADAL" clId="{20DBE477-A6EA-416C-A703-7F6801C4C8C8}" dt="2022-08-14T14:11:45.362" v="1420" actId="208"/>
          <ac:spMkLst>
            <pc:docMk/>
            <pc:sldMk cId="1933870206" sldId="2147470032"/>
            <ac:spMk id="9" creationId="{CBD1C6E2-A7F8-1773-0BFD-126429FB952B}"/>
          </ac:spMkLst>
        </pc:spChg>
        <pc:spChg chg="add mod">
          <ac:chgData name="Thomas Stensitzki" userId="75cafe6b-2f2a-469b-85c4-eec3b9c972ba" providerId="ADAL" clId="{20DBE477-A6EA-416C-A703-7F6801C4C8C8}" dt="2022-08-14T14:11:45.362" v="1420" actId="208"/>
          <ac:spMkLst>
            <pc:docMk/>
            <pc:sldMk cId="1933870206" sldId="2147470032"/>
            <ac:spMk id="10" creationId="{5A1D25B8-50A4-4C76-177B-8A8D9B7565BA}"/>
          </ac:spMkLst>
        </pc:spChg>
        <pc:picChg chg="del">
          <ac:chgData name="Thomas Stensitzki" userId="75cafe6b-2f2a-469b-85c4-eec3b9c972ba" providerId="ADAL" clId="{20DBE477-A6EA-416C-A703-7F6801C4C8C8}" dt="2022-08-14T14:11:30.413" v="1418" actId="478"/>
          <ac:picMkLst>
            <pc:docMk/>
            <pc:sldMk cId="1933870206" sldId="2147470032"/>
            <ac:picMk id="5" creationId="{3BE8633B-3C4C-8144-BA4E-03BDE6A2F9B0}"/>
          </ac:picMkLst>
        </pc:picChg>
        <pc:picChg chg="add mod">
          <ac:chgData name="Thomas Stensitzki" userId="75cafe6b-2f2a-469b-85c4-eec3b9c972ba" providerId="ADAL" clId="{20DBE477-A6EA-416C-A703-7F6801C4C8C8}" dt="2022-08-14T14:11:36.769" v="1419"/>
          <ac:picMkLst>
            <pc:docMk/>
            <pc:sldMk cId="1933870206" sldId="2147470032"/>
            <ac:picMk id="7" creationId="{C396B965-3C24-D899-52CF-9DEED9C1E9BA}"/>
          </ac:picMkLst>
        </pc:picChg>
      </pc:sldChg>
      <pc:sldChg chg="modSp add mod ord">
        <pc:chgData name="Thomas Stensitzki" userId="75cafe6b-2f2a-469b-85c4-eec3b9c972ba" providerId="ADAL" clId="{20DBE477-A6EA-416C-A703-7F6801C4C8C8}" dt="2022-09-03T14:45:50.501" v="2858" actId="20577"/>
        <pc:sldMkLst>
          <pc:docMk/>
          <pc:sldMk cId="3556132628" sldId="2147470033"/>
        </pc:sldMkLst>
        <pc:spChg chg="mod">
          <ac:chgData name="Thomas Stensitzki" userId="75cafe6b-2f2a-469b-85c4-eec3b9c972ba" providerId="ADAL" clId="{20DBE477-A6EA-416C-A703-7F6801C4C8C8}" dt="2022-09-03T14:45:50.501" v="2858" actId="20577"/>
          <ac:spMkLst>
            <pc:docMk/>
            <pc:sldMk cId="3556132628" sldId="2147470033"/>
            <ac:spMk id="6" creationId="{1BD4A6B4-6368-C2DB-40F8-1759652DE948}"/>
          </ac:spMkLst>
        </pc:spChg>
        <pc:spChg chg="mod">
          <ac:chgData name="Thomas Stensitzki" userId="75cafe6b-2f2a-469b-85c4-eec3b9c972ba" providerId="ADAL" clId="{20DBE477-A6EA-416C-A703-7F6801C4C8C8}" dt="2022-08-14T14:13:51.538" v="1465" actId="20577"/>
          <ac:spMkLst>
            <pc:docMk/>
            <pc:sldMk cId="3556132628" sldId="2147470033"/>
            <ac:spMk id="7" creationId="{0915B47D-7832-D55B-8B70-7951123E3AC6}"/>
          </ac:spMkLst>
        </pc:spChg>
      </pc:sldChg>
      <pc:sldChg chg="addSp delSp modSp new mod modClrScheme chgLayout">
        <pc:chgData name="Thomas Stensitzki" userId="75cafe6b-2f2a-469b-85c4-eec3b9c972ba" providerId="ADAL" clId="{20DBE477-A6EA-416C-A703-7F6801C4C8C8}" dt="2022-09-06T16:56:50.966" v="3012" actId="20577"/>
        <pc:sldMkLst>
          <pc:docMk/>
          <pc:sldMk cId="1931503604" sldId="2147470034"/>
        </pc:sldMkLst>
        <pc:spChg chg="del">
          <ac:chgData name="Thomas Stensitzki" userId="75cafe6b-2f2a-469b-85c4-eec3b9c972ba" providerId="ADAL" clId="{20DBE477-A6EA-416C-A703-7F6801C4C8C8}" dt="2022-08-14T14:14:28.514" v="1468" actId="700"/>
          <ac:spMkLst>
            <pc:docMk/>
            <pc:sldMk cId="1931503604" sldId="2147470034"/>
            <ac:spMk id="2" creationId="{28A5ABBB-1C10-87B9-82DD-D3207A66F08E}"/>
          </ac:spMkLst>
        </pc:spChg>
        <pc:spChg chg="del mod ord">
          <ac:chgData name="Thomas Stensitzki" userId="75cafe6b-2f2a-469b-85c4-eec3b9c972ba" providerId="ADAL" clId="{20DBE477-A6EA-416C-A703-7F6801C4C8C8}" dt="2022-08-14T14:14:28.514" v="1468" actId="700"/>
          <ac:spMkLst>
            <pc:docMk/>
            <pc:sldMk cId="1931503604" sldId="2147470034"/>
            <ac:spMk id="3" creationId="{D5F66B4A-6DE7-7D74-3900-B790C0820AD1}"/>
          </ac:spMkLst>
        </pc:spChg>
        <pc:spChg chg="del">
          <ac:chgData name="Thomas Stensitzki" userId="75cafe6b-2f2a-469b-85c4-eec3b9c972ba" providerId="ADAL" clId="{20DBE477-A6EA-416C-A703-7F6801C4C8C8}" dt="2022-08-14T14:14:28.514" v="1468" actId="700"/>
          <ac:spMkLst>
            <pc:docMk/>
            <pc:sldMk cId="1931503604" sldId="2147470034"/>
            <ac:spMk id="4" creationId="{1DFE8E3C-FF72-E74A-EE1A-A33D8EBDC137}"/>
          </ac:spMkLst>
        </pc:spChg>
        <pc:spChg chg="add mod ord">
          <ac:chgData name="Thomas Stensitzki" userId="75cafe6b-2f2a-469b-85c4-eec3b9c972ba" providerId="ADAL" clId="{20DBE477-A6EA-416C-A703-7F6801C4C8C8}" dt="2022-08-14T14:14:36.160" v="1469"/>
          <ac:spMkLst>
            <pc:docMk/>
            <pc:sldMk cId="1931503604" sldId="2147470034"/>
            <ac:spMk id="5" creationId="{1A02DD3E-CC53-C647-25B8-3FC205BCA8D8}"/>
          </ac:spMkLst>
        </pc:spChg>
        <pc:spChg chg="add mod ord">
          <ac:chgData name="Thomas Stensitzki" userId="75cafe6b-2f2a-469b-85c4-eec3b9c972ba" providerId="ADAL" clId="{20DBE477-A6EA-416C-A703-7F6801C4C8C8}" dt="2022-09-06T16:56:50.966" v="3012" actId="20577"/>
          <ac:spMkLst>
            <pc:docMk/>
            <pc:sldMk cId="1931503604" sldId="2147470034"/>
            <ac:spMk id="6" creationId="{58352774-C23C-0758-2F08-D29CFBCEA6FA}"/>
          </ac:spMkLst>
        </pc:spChg>
      </pc:sldChg>
      <pc:sldChg chg="modSp add mod modShow">
        <pc:chgData name="Thomas Stensitzki" userId="75cafe6b-2f2a-469b-85c4-eec3b9c972ba" providerId="ADAL" clId="{20DBE477-A6EA-416C-A703-7F6801C4C8C8}" dt="2022-09-13T16:39:21.360" v="3580" actId="729"/>
        <pc:sldMkLst>
          <pc:docMk/>
          <pc:sldMk cId="209160129" sldId="2147470035"/>
        </pc:sldMkLst>
        <pc:spChg chg="mod">
          <ac:chgData name="Thomas Stensitzki" userId="75cafe6b-2f2a-469b-85c4-eec3b9c972ba" providerId="ADAL" clId="{20DBE477-A6EA-416C-A703-7F6801C4C8C8}" dt="2022-09-06T16:50:40.699" v="2966" actId="207"/>
          <ac:spMkLst>
            <pc:docMk/>
            <pc:sldMk cId="209160129" sldId="2147470035"/>
            <ac:spMk id="6" creationId="{58352774-C23C-0758-2F08-D29CFBCEA6FA}"/>
          </ac:spMkLst>
        </pc:spChg>
      </pc:sldChg>
      <pc:sldChg chg="modSp add mod ord">
        <pc:chgData name="Thomas Stensitzki" userId="75cafe6b-2f2a-469b-85c4-eec3b9c972ba" providerId="ADAL" clId="{20DBE477-A6EA-416C-A703-7F6801C4C8C8}" dt="2022-09-06T17:05:40.492" v="3438" actId="6549"/>
        <pc:sldMkLst>
          <pc:docMk/>
          <pc:sldMk cId="3453916803" sldId="2147470036"/>
        </pc:sldMkLst>
        <pc:spChg chg="mod">
          <ac:chgData name="Thomas Stensitzki" userId="75cafe6b-2f2a-469b-85c4-eec3b9c972ba" providerId="ADAL" clId="{20DBE477-A6EA-416C-A703-7F6801C4C8C8}" dt="2022-08-14T14:19:35.979" v="1523" actId="20577"/>
          <ac:spMkLst>
            <pc:docMk/>
            <pc:sldMk cId="3453916803" sldId="2147470036"/>
            <ac:spMk id="5" creationId="{1A02DD3E-CC53-C647-25B8-3FC205BCA8D8}"/>
          </ac:spMkLst>
        </pc:spChg>
        <pc:spChg chg="mod">
          <ac:chgData name="Thomas Stensitzki" userId="75cafe6b-2f2a-469b-85c4-eec3b9c972ba" providerId="ADAL" clId="{20DBE477-A6EA-416C-A703-7F6801C4C8C8}" dt="2022-09-06T17:05:40.492" v="3438" actId="6549"/>
          <ac:spMkLst>
            <pc:docMk/>
            <pc:sldMk cId="3453916803" sldId="2147470036"/>
            <ac:spMk id="6" creationId="{58352774-C23C-0758-2F08-D29CFBCEA6FA}"/>
          </ac:spMkLst>
        </pc:spChg>
      </pc:sldChg>
      <pc:sldChg chg="modSp add mod">
        <pc:chgData name="Thomas Stensitzki" userId="75cafe6b-2f2a-469b-85c4-eec3b9c972ba" providerId="ADAL" clId="{20DBE477-A6EA-416C-A703-7F6801C4C8C8}" dt="2022-09-06T16:55:24.404" v="2997" actId="20577"/>
        <pc:sldMkLst>
          <pc:docMk/>
          <pc:sldMk cId="905105326" sldId="2147470037"/>
        </pc:sldMkLst>
        <pc:spChg chg="mod">
          <ac:chgData name="Thomas Stensitzki" userId="75cafe6b-2f2a-469b-85c4-eec3b9c972ba" providerId="ADAL" clId="{20DBE477-A6EA-416C-A703-7F6801C4C8C8}" dt="2022-09-06T16:55:24.404" v="2997" actId="20577"/>
          <ac:spMkLst>
            <pc:docMk/>
            <pc:sldMk cId="905105326" sldId="2147470037"/>
            <ac:spMk id="6" creationId="{58352774-C23C-0758-2F08-D29CFBCEA6FA}"/>
          </ac:spMkLst>
        </pc:spChg>
      </pc:sldChg>
      <pc:sldChg chg="modSp add mod modShow">
        <pc:chgData name="Thomas Stensitzki" userId="75cafe6b-2f2a-469b-85c4-eec3b9c972ba" providerId="ADAL" clId="{20DBE477-A6EA-416C-A703-7F6801C4C8C8}" dt="2022-09-13T16:39:12.209" v="3579" actId="729"/>
        <pc:sldMkLst>
          <pc:docMk/>
          <pc:sldMk cId="4210467040" sldId="2147470038"/>
        </pc:sldMkLst>
        <pc:spChg chg="mod">
          <ac:chgData name="Thomas Stensitzki" userId="75cafe6b-2f2a-469b-85c4-eec3b9c972ba" providerId="ADAL" clId="{20DBE477-A6EA-416C-A703-7F6801C4C8C8}" dt="2022-08-14T14:23:44.892" v="1567" actId="20577"/>
          <ac:spMkLst>
            <pc:docMk/>
            <pc:sldMk cId="4210467040" sldId="2147470038"/>
            <ac:spMk id="5" creationId="{1A02DD3E-CC53-C647-25B8-3FC205BCA8D8}"/>
          </ac:spMkLst>
        </pc:spChg>
        <pc:spChg chg="mod">
          <ac:chgData name="Thomas Stensitzki" userId="75cafe6b-2f2a-469b-85c4-eec3b9c972ba" providerId="ADAL" clId="{20DBE477-A6EA-416C-A703-7F6801C4C8C8}" dt="2022-09-06T17:07:56.460" v="3496" actId="20577"/>
          <ac:spMkLst>
            <pc:docMk/>
            <pc:sldMk cId="4210467040" sldId="2147470038"/>
            <ac:spMk id="6" creationId="{58352774-C23C-0758-2F08-D29CFBCEA6FA}"/>
          </ac:spMkLst>
        </pc:spChg>
      </pc:sldChg>
      <pc:sldChg chg="modSp add mod ord modShow">
        <pc:chgData name="Thomas Stensitzki" userId="75cafe6b-2f2a-469b-85c4-eec3b9c972ba" providerId="ADAL" clId="{20DBE477-A6EA-416C-A703-7F6801C4C8C8}" dt="2022-09-13T16:39:12.209" v="3579" actId="729"/>
        <pc:sldMkLst>
          <pc:docMk/>
          <pc:sldMk cId="1853263586" sldId="2147470039"/>
        </pc:sldMkLst>
        <pc:spChg chg="mod">
          <ac:chgData name="Thomas Stensitzki" userId="75cafe6b-2f2a-469b-85c4-eec3b9c972ba" providerId="ADAL" clId="{20DBE477-A6EA-416C-A703-7F6801C4C8C8}" dt="2022-09-06T17:04:14.642" v="3413" actId="207"/>
          <ac:spMkLst>
            <pc:docMk/>
            <pc:sldMk cId="1853263586" sldId="2147470039"/>
            <ac:spMk id="6" creationId="{58352774-C23C-0758-2F08-D29CFBCEA6FA}"/>
          </ac:spMkLst>
        </pc:spChg>
      </pc:sldChg>
      <pc:sldChg chg="addSp delSp modSp new mod modClrScheme modAnim chgLayout modNotesTx">
        <pc:chgData name="Thomas Stensitzki" userId="75cafe6b-2f2a-469b-85c4-eec3b9c972ba" providerId="ADAL" clId="{20DBE477-A6EA-416C-A703-7F6801C4C8C8}" dt="2022-09-03T14:18:03.196" v="2675"/>
        <pc:sldMkLst>
          <pc:docMk/>
          <pc:sldMk cId="2987127572" sldId="2147470040"/>
        </pc:sldMkLst>
        <pc:spChg chg="del mod ord">
          <ac:chgData name="Thomas Stensitzki" userId="75cafe6b-2f2a-469b-85c4-eec3b9c972ba" providerId="ADAL" clId="{20DBE477-A6EA-416C-A703-7F6801C4C8C8}" dt="2022-08-14T14:28:02.931" v="1601" actId="700"/>
          <ac:spMkLst>
            <pc:docMk/>
            <pc:sldMk cId="2987127572" sldId="2147470040"/>
            <ac:spMk id="2" creationId="{14F53975-93EF-C93F-DE96-884D9E23252C}"/>
          </ac:spMkLst>
        </pc:spChg>
        <pc:spChg chg="del">
          <ac:chgData name="Thomas Stensitzki" userId="75cafe6b-2f2a-469b-85c4-eec3b9c972ba" providerId="ADAL" clId="{20DBE477-A6EA-416C-A703-7F6801C4C8C8}" dt="2022-08-14T14:28:02.931" v="1601" actId="700"/>
          <ac:spMkLst>
            <pc:docMk/>
            <pc:sldMk cId="2987127572" sldId="2147470040"/>
            <ac:spMk id="3" creationId="{05A6C562-4E80-4590-C9E4-530128EE81AF}"/>
          </ac:spMkLst>
        </pc:spChg>
        <pc:spChg chg="add mod ord">
          <ac:chgData name="Thomas Stensitzki" userId="75cafe6b-2f2a-469b-85c4-eec3b9c972ba" providerId="ADAL" clId="{20DBE477-A6EA-416C-A703-7F6801C4C8C8}" dt="2022-08-14T14:28:11.556" v="1627" actId="20577"/>
          <ac:spMkLst>
            <pc:docMk/>
            <pc:sldMk cId="2987127572" sldId="2147470040"/>
            <ac:spMk id="4" creationId="{EC8EADF6-ACF1-957D-6C31-3315D88D3928}"/>
          </ac:spMkLst>
        </pc:spChg>
        <pc:spChg chg="add mod">
          <ac:chgData name="Thomas Stensitzki" userId="75cafe6b-2f2a-469b-85c4-eec3b9c972ba" providerId="ADAL" clId="{20DBE477-A6EA-416C-A703-7F6801C4C8C8}" dt="2022-08-14T14:32:34.727" v="1852" actId="113"/>
          <ac:spMkLst>
            <pc:docMk/>
            <pc:sldMk cId="2987127572" sldId="2147470040"/>
            <ac:spMk id="5" creationId="{D7E0D6E4-A152-124E-2CA4-EC4EDFD48BBE}"/>
          </ac:spMkLst>
        </pc:spChg>
        <pc:spChg chg="add mod">
          <ac:chgData name="Thomas Stensitzki" userId="75cafe6b-2f2a-469b-85c4-eec3b9c972ba" providerId="ADAL" clId="{20DBE477-A6EA-416C-A703-7F6801C4C8C8}" dt="2022-08-14T14:32:34.727" v="1852" actId="113"/>
          <ac:spMkLst>
            <pc:docMk/>
            <pc:sldMk cId="2987127572" sldId="2147470040"/>
            <ac:spMk id="6" creationId="{F47914F3-EA10-16F5-1678-C19B0CC5C2FE}"/>
          </ac:spMkLst>
        </pc:spChg>
        <pc:spChg chg="add mod">
          <ac:chgData name="Thomas Stensitzki" userId="75cafe6b-2f2a-469b-85c4-eec3b9c972ba" providerId="ADAL" clId="{20DBE477-A6EA-416C-A703-7F6801C4C8C8}" dt="2022-08-14T14:33:43.621" v="1977" actId="1037"/>
          <ac:spMkLst>
            <pc:docMk/>
            <pc:sldMk cId="2987127572" sldId="2147470040"/>
            <ac:spMk id="7" creationId="{4642FAEC-BEF8-7E78-6789-7C4E15E76C2F}"/>
          </ac:spMkLst>
        </pc:spChg>
        <pc:spChg chg="add mod">
          <ac:chgData name="Thomas Stensitzki" userId="75cafe6b-2f2a-469b-85c4-eec3b9c972ba" providerId="ADAL" clId="{20DBE477-A6EA-416C-A703-7F6801C4C8C8}" dt="2022-08-14T14:35:24.389" v="2050" actId="20577"/>
          <ac:spMkLst>
            <pc:docMk/>
            <pc:sldMk cId="2987127572" sldId="2147470040"/>
            <ac:spMk id="8" creationId="{9D588A84-606B-E8C4-74B5-62B79E440BC4}"/>
          </ac:spMkLst>
        </pc:spChg>
        <pc:spChg chg="mod">
          <ac:chgData name="Thomas Stensitzki" userId="75cafe6b-2f2a-469b-85c4-eec3b9c972ba" providerId="ADAL" clId="{20DBE477-A6EA-416C-A703-7F6801C4C8C8}" dt="2022-08-14T14:34:58.963" v="2005" actId="208"/>
          <ac:spMkLst>
            <pc:docMk/>
            <pc:sldMk cId="2987127572" sldId="2147470040"/>
            <ac:spMk id="23" creationId="{883A69CE-2203-6A3C-B0D8-2E9254F6675E}"/>
          </ac:spMkLst>
        </pc:spChg>
        <pc:spChg chg="mod">
          <ac:chgData name="Thomas Stensitzki" userId="75cafe6b-2f2a-469b-85c4-eec3b9c972ba" providerId="ADAL" clId="{20DBE477-A6EA-416C-A703-7F6801C4C8C8}" dt="2022-08-14T14:35:03.586" v="2006" actId="208"/>
          <ac:spMkLst>
            <pc:docMk/>
            <pc:sldMk cId="2987127572" sldId="2147470040"/>
            <ac:spMk id="30" creationId="{2F52E420-F413-F846-5003-2AAB11C3010C}"/>
          </ac:spMkLst>
        </pc:spChg>
        <pc:spChg chg="add mod">
          <ac:chgData name="Thomas Stensitzki" userId="75cafe6b-2f2a-469b-85c4-eec3b9c972ba" providerId="ADAL" clId="{20DBE477-A6EA-416C-A703-7F6801C4C8C8}" dt="2022-08-14T14:36:35.490" v="2067" actId="1076"/>
          <ac:spMkLst>
            <pc:docMk/>
            <pc:sldMk cId="2987127572" sldId="2147470040"/>
            <ac:spMk id="36" creationId="{A43A1B5C-04D5-84B3-DA44-0FBA5AFBCCDC}"/>
          </ac:spMkLst>
        </pc:spChg>
        <pc:spChg chg="add mod">
          <ac:chgData name="Thomas Stensitzki" userId="75cafe6b-2f2a-469b-85c4-eec3b9c972ba" providerId="ADAL" clId="{20DBE477-A6EA-416C-A703-7F6801C4C8C8}" dt="2022-08-14T14:34:35.752" v="1997" actId="1076"/>
          <ac:spMkLst>
            <pc:docMk/>
            <pc:sldMk cId="2987127572" sldId="2147470040"/>
            <ac:spMk id="37" creationId="{EE5B5E4D-A441-674D-AFB7-27219A5B3D5C}"/>
          </ac:spMkLst>
        </pc:spChg>
        <pc:spChg chg="add mod">
          <ac:chgData name="Thomas Stensitzki" userId="75cafe6b-2f2a-469b-85c4-eec3b9c972ba" providerId="ADAL" clId="{20DBE477-A6EA-416C-A703-7F6801C4C8C8}" dt="2022-08-14T14:34:09.479" v="1983" actId="20577"/>
          <ac:spMkLst>
            <pc:docMk/>
            <pc:sldMk cId="2987127572" sldId="2147470040"/>
            <ac:spMk id="38" creationId="{55E76E3E-24F8-B8FB-7CDC-FC68A51A86E7}"/>
          </ac:spMkLst>
        </pc:spChg>
        <pc:spChg chg="add mod">
          <ac:chgData name="Thomas Stensitzki" userId="75cafe6b-2f2a-469b-85c4-eec3b9c972ba" providerId="ADAL" clId="{20DBE477-A6EA-416C-A703-7F6801C4C8C8}" dt="2022-08-14T14:34:38.953" v="2002" actId="20577"/>
          <ac:spMkLst>
            <pc:docMk/>
            <pc:sldMk cId="2987127572" sldId="2147470040"/>
            <ac:spMk id="39" creationId="{C4CD8C1F-3A69-E847-7516-21C85101A340}"/>
          </ac:spMkLst>
        </pc:spChg>
        <pc:spChg chg="mod">
          <ac:chgData name="Thomas Stensitzki" userId="75cafe6b-2f2a-469b-85c4-eec3b9c972ba" providerId="ADAL" clId="{20DBE477-A6EA-416C-A703-7F6801C4C8C8}" dt="2022-08-14T14:30:49.504" v="1700" actId="1035"/>
          <ac:spMkLst>
            <pc:docMk/>
            <pc:sldMk cId="2987127572" sldId="2147470040"/>
            <ac:spMk id="42" creationId="{4E97DD04-6248-3D81-220A-67D4686A632A}"/>
          </ac:spMkLst>
        </pc:spChg>
        <pc:spChg chg="mod">
          <ac:chgData name="Thomas Stensitzki" userId="75cafe6b-2f2a-469b-85c4-eec3b9c972ba" providerId="ADAL" clId="{20DBE477-A6EA-416C-A703-7F6801C4C8C8}" dt="2022-08-14T14:31:01.043" v="1712" actId="1035"/>
          <ac:spMkLst>
            <pc:docMk/>
            <pc:sldMk cId="2987127572" sldId="2147470040"/>
            <ac:spMk id="45" creationId="{02CF2D7F-CF82-349C-E886-404DC207DB62}"/>
          </ac:spMkLst>
        </pc:spChg>
        <pc:spChg chg="add mod">
          <ac:chgData name="Thomas Stensitzki" userId="75cafe6b-2f2a-469b-85c4-eec3b9c972ba" providerId="ADAL" clId="{20DBE477-A6EA-416C-A703-7F6801C4C8C8}" dt="2022-08-14T14:36:39.594" v="2068" actId="1076"/>
          <ac:spMkLst>
            <pc:docMk/>
            <pc:sldMk cId="2987127572" sldId="2147470040"/>
            <ac:spMk id="46" creationId="{789F656C-A9B5-7567-8974-A0DF10F476C1}"/>
          </ac:spMkLst>
        </pc:spChg>
        <pc:spChg chg="add mod">
          <ac:chgData name="Thomas Stensitzki" userId="75cafe6b-2f2a-469b-85c4-eec3b9c972ba" providerId="ADAL" clId="{20DBE477-A6EA-416C-A703-7F6801C4C8C8}" dt="2022-08-14T14:35:59.739" v="2056" actId="14100"/>
          <ac:spMkLst>
            <pc:docMk/>
            <pc:sldMk cId="2987127572" sldId="2147470040"/>
            <ac:spMk id="47" creationId="{1345B4CE-4AEE-0C3A-D1D2-79B77F08473D}"/>
          </ac:spMkLst>
        </pc:spChg>
        <pc:grpChg chg="add mod">
          <ac:chgData name="Thomas Stensitzki" userId="75cafe6b-2f2a-469b-85c4-eec3b9c972ba" providerId="ADAL" clId="{20DBE477-A6EA-416C-A703-7F6801C4C8C8}" dt="2022-08-14T14:31:35.193" v="1809" actId="1037"/>
          <ac:grpSpMkLst>
            <pc:docMk/>
            <pc:sldMk cId="2987127572" sldId="2147470040"/>
            <ac:grpSpMk id="10" creationId="{CDB31C50-4F19-A11F-BDE9-29FF676BFBCF}"/>
          </ac:grpSpMkLst>
        </pc:grpChg>
        <pc:grpChg chg="add mod">
          <ac:chgData name="Thomas Stensitzki" userId="75cafe6b-2f2a-469b-85c4-eec3b9c972ba" providerId="ADAL" clId="{20DBE477-A6EA-416C-A703-7F6801C4C8C8}" dt="2022-08-14T14:31:35.193" v="1809" actId="1037"/>
          <ac:grpSpMkLst>
            <pc:docMk/>
            <pc:sldMk cId="2987127572" sldId="2147470040"/>
            <ac:grpSpMk id="13" creationId="{D336F47B-E697-9836-18D0-FAC036B10A94}"/>
          </ac:grpSpMkLst>
        </pc:grpChg>
        <pc:grpChg chg="add mod">
          <ac:chgData name="Thomas Stensitzki" userId="75cafe6b-2f2a-469b-85c4-eec3b9c972ba" providerId="ADAL" clId="{20DBE477-A6EA-416C-A703-7F6801C4C8C8}" dt="2022-08-14T14:33:50.400" v="1978" actId="1076"/>
          <ac:grpSpMkLst>
            <pc:docMk/>
            <pc:sldMk cId="2987127572" sldId="2147470040"/>
            <ac:grpSpMk id="16" creationId="{DFEC0262-63D1-596E-ED46-4C0404EAF722}"/>
          </ac:grpSpMkLst>
        </pc:grpChg>
        <pc:grpChg chg="add mod">
          <ac:chgData name="Thomas Stensitzki" userId="75cafe6b-2f2a-469b-85c4-eec3b9c972ba" providerId="ADAL" clId="{20DBE477-A6EA-416C-A703-7F6801C4C8C8}" dt="2022-08-14T14:35:09.224" v="2021" actId="1037"/>
          <ac:grpSpMkLst>
            <pc:docMk/>
            <pc:sldMk cId="2987127572" sldId="2147470040"/>
            <ac:grpSpMk id="22" creationId="{7FAEC8C2-C12D-FEA1-215F-1C7435D3A689}"/>
          </ac:grpSpMkLst>
        </pc:grpChg>
        <pc:grpChg chg="add mod">
          <ac:chgData name="Thomas Stensitzki" userId="75cafe6b-2f2a-469b-85c4-eec3b9c972ba" providerId="ADAL" clId="{20DBE477-A6EA-416C-A703-7F6801C4C8C8}" dt="2022-08-14T14:35:14.236" v="2036" actId="1037"/>
          <ac:grpSpMkLst>
            <pc:docMk/>
            <pc:sldMk cId="2987127572" sldId="2147470040"/>
            <ac:grpSpMk id="29" creationId="{699EC203-A7D3-96DD-A7C3-5E0D1499AACF}"/>
          </ac:grpSpMkLst>
        </pc:grpChg>
        <pc:grpChg chg="add mod">
          <ac:chgData name="Thomas Stensitzki" userId="75cafe6b-2f2a-469b-85c4-eec3b9c972ba" providerId="ADAL" clId="{20DBE477-A6EA-416C-A703-7F6801C4C8C8}" dt="2022-08-14T14:30:16.796" v="1682" actId="14100"/>
          <ac:grpSpMkLst>
            <pc:docMk/>
            <pc:sldMk cId="2987127572" sldId="2147470040"/>
            <ac:grpSpMk id="40" creationId="{56467D27-6FD6-B5DB-266F-945708C9A1B5}"/>
          </ac:grpSpMkLst>
        </pc:grpChg>
        <pc:grpChg chg="add mod">
          <ac:chgData name="Thomas Stensitzki" userId="75cafe6b-2f2a-469b-85c4-eec3b9c972ba" providerId="ADAL" clId="{20DBE477-A6EA-416C-A703-7F6801C4C8C8}" dt="2022-08-14T14:30:16.796" v="1682" actId="14100"/>
          <ac:grpSpMkLst>
            <pc:docMk/>
            <pc:sldMk cId="2987127572" sldId="2147470040"/>
            <ac:grpSpMk id="43" creationId="{E5C36DE4-1A93-4DA1-D5E4-951D2795D7FE}"/>
          </ac:grpSpMkLst>
        </pc:grpChg>
        <pc:picChg chg="add mod">
          <ac:chgData name="Thomas Stensitzki" userId="75cafe6b-2f2a-469b-85c4-eec3b9c972ba" providerId="ADAL" clId="{20DBE477-A6EA-416C-A703-7F6801C4C8C8}" dt="2022-08-14T14:31:27.169" v="1767"/>
          <ac:picMkLst>
            <pc:docMk/>
            <pc:sldMk cId="2987127572" sldId="2147470040"/>
            <ac:picMk id="9" creationId="{F954E984-E8C1-4289-120E-A247FA9F4C8F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11" creationId="{2BD37299-2AC3-E6A5-E3C8-8D20282926FE}"/>
          </ac:picMkLst>
        </pc:picChg>
        <pc:picChg chg="mod">
          <ac:chgData name="Thomas Stensitzki" userId="75cafe6b-2f2a-469b-85c4-eec3b9c972ba" providerId="ADAL" clId="{20DBE477-A6EA-416C-A703-7F6801C4C8C8}" dt="2022-08-14T14:31:47.136" v="1810" actId="207"/>
          <ac:picMkLst>
            <pc:docMk/>
            <pc:sldMk cId="2987127572" sldId="2147470040"/>
            <ac:picMk id="12" creationId="{5F6513A9-026C-CBE3-1821-47A7176A4DBD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14" creationId="{97037884-E7CC-60E2-7035-BEFB2FFFE65F}"/>
          </ac:picMkLst>
        </pc:picChg>
        <pc:picChg chg="mod">
          <ac:chgData name="Thomas Stensitzki" userId="75cafe6b-2f2a-469b-85c4-eec3b9c972ba" providerId="ADAL" clId="{20DBE477-A6EA-416C-A703-7F6801C4C8C8}" dt="2022-08-14T14:31:50.293" v="1811" actId="207"/>
          <ac:picMkLst>
            <pc:docMk/>
            <pc:sldMk cId="2987127572" sldId="2147470040"/>
            <ac:picMk id="15" creationId="{130E61D8-0AD9-8F97-1EF1-405052A7D758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17" creationId="{F4CAC3BE-D269-4F2B-14DE-D6D5636AFF1B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18" creationId="{3639CBA0-C9AC-B2C8-65C6-3C4084E9D5A5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19" creationId="{3F06F011-CE9E-C5BA-E803-43FC41568946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0" creationId="{F454A276-5F46-B44B-0F42-13B2F123F65F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1" creationId="{180F5D9D-95EB-4929-4DE0-2695352EB2D6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4" creationId="{5F7EB4E0-2ECA-BFF3-F60C-EE6675D46C10}"/>
          </ac:picMkLst>
        </pc:picChg>
        <pc:picChg chg="mod">
          <ac:chgData name="Thomas Stensitzki" userId="75cafe6b-2f2a-469b-85c4-eec3b9c972ba" providerId="ADAL" clId="{20DBE477-A6EA-416C-A703-7F6801C4C8C8}" dt="2022-08-14T14:34:48.201" v="2003" actId="207"/>
          <ac:picMkLst>
            <pc:docMk/>
            <pc:sldMk cId="2987127572" sldId="2147470040"/>
            <ac:picMk id="25" creationId="{93ABD35A-BA68-F976-FC0C-3F1863BB5B79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6" creationId="{15A9523D-3A59-B7FD-8492-5244DCC00000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7" creationId="{5D0B3DF6-6BB0-CE45-CB83-0945CD02A207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28" creationId="{EFB7041C-1DCF-CD7D-94C4-21D957459ADC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31" creationId="{51FEF2B1-4855-3D2B-98FC-AAF8F24B1464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32" creationId="{39FE2BA9-E536-DB67-C0F7-1D4800D8AA4F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33" creationId="{046DFA16-C3CB-03BE-A915-808A6E1C291A}"/>
          </ac:picMkLst>
        </pc:picChg>
        <pc:picChg chg="mod">
          <ac:chgData name="Thomas Stensitzki" userId="75cafe6b-2f2a-469b-85c4-eec3b9c972ba" providerId="ADAL" clId="{20DBE477-A6EA-416C-A703-7F6801C4C8C8}" dt="2022-08-14T14:29:18.118" v="1673"/>
          <ac:picMkLst>
            <pc:docMk/>
            <pc:sldMk cId="2987127572" sldId="2147470040"/>
            <ac:picMk id="34" creationId="{FAC40E8E-3004-DA73-AF37-F123C05F3F16}"/>
          </ac:picMkLst>
        </pc:picChg>
        <pc:picChg chg="mod">
          <ac:chgData name="Thomas Stensitzki" userId="75cafe6b-2f2a-469b-85c4-eec3b9c972ba" providerId="ADAL" clId="{20DBE477-A6EA-416C-A703-7F6801C4C8C8}" dt="2022-08-14T14:34:53.664" v="2004" actId="207"/>
          <ac:picMkLst>
            <pc:docMk/>
            <pc:sldMk cId="2987127572" sldId="2147470040"/>
            <ac:picMk id="35" creationId="{5EF204BF-2EE8-907A-3291-A7C482455558}"/>
          </ac:picMkLst>
        </pc:picChg>
        <pc:cxnChg chg="mod">
          <ac:chgData name="Thomas Stensitzki" userId="75cafe6b-2f2a-469b-85c4-eec3b9c972ba" providerId="ADAL" clId="{20DBE477-A6EA-416C-A703-7F6801C4C8C8}" dt="2022-08-14T14:30:29.499" v="1683" actId="14100"/>
          <ac:cxnSpMkLst>
            <pc:docMk/>
            <pc:sldMk cId="2987127572" sldId="2147470040"/>
            <ac:cxnSpMk id="41" creationId="{0D35CFFD-884F-5B83-13CD-B4247B40BAD1}"/>
          </ac:cxnSpMkLst>
        </pc:cxnChg>
        <pc:cxnChg chg="mod">
          <ac:chgData name="Thomas Stensitzki" userId="75cafe6b-2f2a-469b-85c4-eec3b9c972ba" providerId="ADAL" clId="{20DBE477-A6EA-416C-A703-7F6801C4C8C8}" dt="2022-08-14T14:30:38.943" v="1684" actId="14100"/>
          <ac:cxnSpMkLst>
            <pc:docMk/>
            <pc:sldMk cId="2987127572" sldId="2147470040"/>
            <ac:cxnSpMk id="44" creationId="{2E6A4669-FF07-F780-35FC-77D7553EF415}"/>
          </ac:cxnSpMkLst>
        </pc:cxnChg>
      </pc:sldChg>
      <pc:sldChg chg="modSp new mod modAnim">
        <pc:chgData name="Thomas Stensitzki" userId="75cafe6b-2f2a-469b-85c4-eec3b9c972ba" providerId="ADAL" clId="{20DBE477-A6EA-416C-A703-7F6801C4C8C8}" dt="2022-09-03T14:17:23.395" v="2673"/>
        <pc:sldMkLst>
          <pc:docMk/>
          <pc:sldMk cId="697347889" sldId="2147470041"/>
        </pc:sldMkLst>
        <pc:spChg chg="mod">
          <ac:chgData name="Thomas Stensitzki" userId="75cafe6b-2f2a-469b-85c4-eec3b9c972ba" providerId="ADAL" clId="{20DBE477-A6EA-416C-A703-7F6801C4C8C8}" dt="2022-08-14T14:37:19.749" v="2100" actId="20577"/>
          <ac:spMkLst>
            <pc:docMk/>
            <pc:sldMk cId="697347889" sldId="2147470041"/>
            <ac:spMk id="2" creationId="{C1BAE032-F22A-D341-F1DE-34C79E2157AA}"/>
          </ac:spMkLst>
        </pc:spChg>
        <pc:spChg chg="mod">
          <ac:chgData name="Thomas Stensitzki" userId="75cafe6b-2f2a-469b-85c4-eec3b9c972ba" providerId="ADAL" clId="{20DBE477-A6EA-416C-A703-7F6801C4C8C8}" dt="2022-08-14T14:38:18.773" v="2184" actId="20577"/>
          <ac:spMkLst>
            <pc:docMk/>
            <pc:sldMk cId="697347889" sldId="2147470041"/>
            <ac:spMk id="3" creationId="{BA8E4E0D-3AFE-55C1-C4A9-8C8BF71A81A2}"/>
          </ac:spMkLst>
        </pc:spChg>
      </pc:sldChg>
      <pc:sldChg chg="modSp add mod ord modAnim">
        <pc:chgData name="Thomas Stensitzki" userId="75cafe6b-2f2a-469b-85c4-eec3b9c972ba" providerId="ADAL" clId="{20DBE477-A6EA-416C-A703-7F6801C4C8C8}" dt="2022-09-09T08:18:06.099" v="3550"/>
        <pc:sldMkLst>
          <pc:docMk/>
          <pc:sldMk cId="2753572702" sldId="2147470042"/>
        </pc:sldMkLst>
        <pc:spChg chg="mod">
          <ac:chgData name="Thomas Stensitzki" userId="75cafe6b-2f2a-469b-85c4-eec3b9c972ba" providerId="ADAL" clId="{20DBE477-A6EA-416C-A703-7F6801C4C8C8}" dt="2022-08-27T12:13:24.228" v="2237" actId="5793"/>
          <ac:spMkLst>
            <pc:docMk/>
            <pc:sldMk cId="2753572702" sldId="2147470042"/>
            <ac:spMk id="5" creationId="{13126358-D0BC-EC27-4954-398BA5DFD569}"/>
          </ac:spMkLst>
        </pc:spChg>
        <pc:spChg chg="mod">
          <ac:chgData name="Thomas Stensitzki" userId="75cafe6b-2f2a-469b-85c4-eec3b9c972ba" providerId="ADAL" clId="{20DBE477-A6EA-416C-A703-7F6801C4C8C8}" dt="2022-09-05T17:48:02.920" v="2948" actId="20577"/>
          <ac:spMkLst>
            <pc:docMk/>
            <pc:sldMk cId="2753572702" sldId="2147470042"/>
            <ac:spMk id="6" creationId="{74A1C355-ED0A-966B-DB01-A167FDD0E61B}"/>
          </ac:spMkLst>
        </pc:spChg>
      </pc:sldChg>
      <pc:sldChg chg="addSp delSp modSp add mod delAnim modAnim">
        <pc:chgData name="Thomas Stensitzki" userId="75cafe6b-2f2a-469b-85c4-eec3b9c972ba" providerId="ADAL" clId="{20DBE477-A6EA-416C-A703-7F6801C4C8C8}" dt="2022-09-03T14:45:24.930" v="2815" actId="14100"/>
        <pc:sldMkLst>
          <pc:docMk/>
          <pc:sldMk cId="2848591223" sldId="2147470043"/>
        </pc:sldMkLst>
        <pc:spChg chg="add mod">
          <ac:chgData name="Thomas Stensitzki" userId="75cafe6b-2f2a-469b-85c4-eec3b9c972ba" providerId="ADAL" clId="{20DBE477-A6EA-416C-A703-7F6801C4C8C8}" dt="2022-09-03T14:45:24.930" v="2815" actId="14100"/>
          <ac:spMkLst>
            <pc:docMk/>
            <pc:sldMk cId="2848591223" sldId="2147470043"/>
            <ac:spMk id="8" creationId="{4BAE21CC-0EE8-7EE4-C8B9-EA1C0D3F8E84}"/>
          </ac:spMkLst>
        </pc:spChg>
        <pc:spChg chg="del">
          <ac:chgData name="Thomas Stensitzki" userId="75cafe6b-2f2a-469b-85c4-eec3b9c972ba" providerId="ADAL" clId="{20DBE477-A6EA-416C-A703-7F6801C4C8C8}" dt="2022-09-03T14:44:22.475" v="2805" actId="478"/>
          <ac:spMkLst>
            <pc:docMk/>
            <pc:sldMk cId="2848591223" sldId="2147470043"/>
            <ac:spMk id="9" creationId="{CBD1C6E2-A7F8-1773-0BFD-126429FB952B}"/>
          </ac:spMkLst>
        </pc:spChg>
        <pc:spChg chg="del">
          <ac:chgData name="Thomas Stensitzki" userId="75cafe6b-2f2a-469b-85c4-eec3b9c972ba" providerId="ADAL" clId="{20DBE477-A6EA-416C-A703-7F6801C4C8C8}" dt="2022-09-03T14:44:22.475" v="2805" actId="478"/>
          <ac:spMkLst>
            <pc:docMk/>
            <pc:sldMk cId="2848591223" sldId="2147470043"/>
            <ac:spMk id="10" creationId="{5A1D25B8-50A4-4C76-177B-8A8D9B7565BA}"/>
          </ac:spMkLst>
        </pc:spChg>
        <pc:picChg chg="add mod">
          <ac:chgData name="Thomas Stensitzki" userId="75cafe6b-2f2a-469b-85c4-eec3b9c972ba" providerId="ADAL" clId="{20DBE477-A6EA-416C-A703-7F6801C4C8C8}" dt="2022-09-03T14:44:51.209" v="2809" actId="1440"/>
          <ac:picMkLst>
            <pc:docMk/>
            <pc:sldMk cId="2848591223" sldId="2147470043"/>
            <ac:picMk id="6" creationId="{19C70AC3-351A-FF74-9791-F72E5E15F9D7}"/>
          </ac:picMkLst>
        </pc:picChg>
        <pc:picChg chg="del">
          <ac:chgData name="Thomas Stensitzki" userId="75cafe6b-2f2a-469b-85c4-eec3b9c972ba" providerId="ADAL" clId="{20DBE477-A6EA-416C-A703-7F6801C4C8C8}" dt="2022-09-03T14:44:22.475" v="2805" actId="478"/>
          <ac:picMkLst>
            <pc:docMk/>
            <pc:sldMk cId="2848591223" sldId="2147470043"/>
            <ac:picMk id="7" creationId="{C396B965-3C24-D899-52CF-9DEED9C1E9BA}"/>
          </ac:picMkLst>
        </pc:picChg>
      </pc:sldChg>
      <pc:sldChg chg="addSp delSp modSp new del mod modClrScheme chgLayout">
        <pc:chgData name="Thomas Stensitzki" userId="75cafe6b-2f2a-469b-85c4-eec3b9c972ba" providerId="ADAL" clId="{20DBE477-A6EA-416C-A703-7F6801C4C8C8}" dt="2022-09-03T14:49:20.353" v="2877" actId="47"/>
        <pc:sldMkLst>
          <pc:docMk/>
          <pc:sldMk cId="3831121518" sldId="2147470044"/>
        </pc:sldMkLst>
        <pc:spChg chg="del mod ord">
          <ac:chgData name="Thomas Stensitzki" userId="75cafe6b-2f2a-469b-85c4-eec3b9c972ba" providerId="ADAL" clId="{20DBE477-A6EA-416C-A703-7F6801C4C8C8}" dt="2022-09-03T14:48:05.483" v="2872" actId="700"/>
          <ac:spMkLst>
            <pc:docMk/>
            <pc:sldMk cId="3831121518" sldId="2147470044"/>
            <ac:spMk id="2" creationId="{E60F2280-2F02-A103-9AFF-AF80C597FDEA}"/>
          </ac:spMkLst>
        </pc:spChg>
        <pc:spChg chg="del mod ord">
          <ac:chgData name="Thomas Stensitzki" userId="75cafe6b-2f2a-469b-85c4-eec3b9c972ba" providerId="ADAL" clId="{20DBE477-A6EA-416C-A703-7F6801C4C8C8}" dt="2022-09-03T14:48:05.483" v="2872" actId="700"/>
          <ac:spMkLst>
            <pc:docMk/>
            <pc:sldMk cId="3831121518" sldId="2147470044"/>
            <ac:spMk id="3" creationId="{461AF15A-8111-7EC4-27F6-F1C56E9393BA}"/>
          </ac:spMkLst>
        </pc:spChg>
        <pc:spChg chg="add mod ord">
          <ac:chgData name="Thomas Stensitzki" userId="75cafe6b-2f2a-469b-85c4-eec3b9c972ba" providerId="ADAL" clId="{20DBE477-A6EA-416C-A703-7F6801C4C8C8}" dt="2022-09-03T14:48:05.483" v="2872" actId="700"/>
          <ac:spMkLst>
            <pc:docMk/>
            <pc:sldMk cId="3831121518" sldId="2147470044"/>
            <ac:spMk id="4" creationId="{88177906-3A56-1926-4046-F9EC3F14C3FE}"/>
          </ac:spMkLst>
        </pc:spChg>
        <pc:spChg chg="add mod ord">
          <ac:chgData name="Thomas Stensitzki" userId="75cafe6b-2f2a-469b-85c4-eec3b9c972ba" providerId="ADAL" clId="{20DBE477-A6EA-416C-A703-7F6801C4C8C8}" dt="2022-09-03T14:48:05.483" v="2872" actId="700"/>
          <ac:spMkLst>
            <pc:docMk/>
            <pc:sldMk cId="3831121518" sldId="2147470044"/>
            <ac:spMk id="5" creationId="{205609ED-4E5F-FEC8-8E1C-B75DD0F6907F}"/>
          </ac:spMkLst>
        </pc:spChg>
      </pc:sldChg>
      <pc:sldChg chg="addSp delSp modSp add mod ord">
        <pc:chgData name="Thomas Stensitzki" userId="75cafe6b-2f2a-469b-85c4-eec3b9c972ba" providerId="ADAL" clId="{20DBE477-A6EA-416C-A703-7F6801C4C8C8}" dt="2022-09-13T15:54:50.178" v="3573" actId="1076"/>
        <pc:sldMkLst>
          <pc:docMk/>
          <pc:sldMk cId="2936239051" sldId="2147470045"/>
        </pc:sldMkLst>
        <pc:spChg chg="mod">
          <ac:chgData name="Thomas Stensitzki" userId="75cafe6b-2f2a-469b-85c4-eec3b9c972ba" providerId="ADAL" clId="{20DBE477-A6EA-416C-A703-7F6801C4C8C8}" dt="2022-09-03T14:49:33.452" v="2895" actId="20577"/>
          <ac:spMkLst>
            <pc:docMk/>
            <pc:sldMk cId="2936239051" sldId="2147470045"/>
            <ac:spMk id="2" creationId="{D031B228-45E7-E9AE-3584-1EF02C0BF237}"/>
          </ac:spMkLst>
        </pc:spChg>
        <pc:spChg chg="add del mod">
          <ac:chgData name="Thomas Stensitzki" userId="75cafe6b-2f2a-469b-85c4-eec3b9c972ba" providerId="ADAL" clId="{20DBE477-A6EA-416C-A703-7F6801C4C8C8}" dt="2022-09-13T15:54:44.661" v="3571" actId="478"/>
          <ac:spMkLst>
            <pc:docMk/>
            <pc:sldMk cId="2936239051" sldId="2147470045"/>
            <ac:spMk id="8" creationId="{BB8B868F-CD3B-9045-089C-DBE6462262DC}"/>
          </ac:spMkLst>
        </pc:spChg>
        <pc:spChg chg="mod">
          <ac:chgData name="Thomas Stensitzki" userId="75cafe6b-2f2a-469b-85c4-eec3b9c972ba" providerId="ADAL" clId="{20DBE477-A6EA-416C-A703-7F6801C4C8C8}" dt="2022-09-13T15:54:45.433" v="3572"/>
          <ac:spMkLst>
            <pc:docMk/>
            <pc:sldMk cId="2936239051" sldId="2147470045"/>
            <ac:spMk id="10" creationId="{D50A7640-87D1-AB88-7F2D-8F84CD698FCC}"/>
          </ac:spMkLst>
        </pc:spChg>
        <pc:grpChg chg="add mod">
          <ac:chgData name="Thomas Stensitzki" userId="75cafe6b-2f2a-469b-85c4-eec3b9c972ba" providerId="ADAL" clId="{20DBE477-A6EA-416C-A703-7F6801C4C8C8}" dt="2022-09-13T15:54:50.178" v="3573" actId="1076"/>
          <ac:grpSpMkLst>
            <pc:docMk/>
            <pc:sldMk cId="2936239051" sldId="2147470045"/>
            <ac:grpSpMk id="9" creationId="{B33C0BA0-7503-3C14-315A-73B22FD8C269}"/>
          </ac:grpSpMkLst>
        </pc:grpChg>
        <pc:picChg chg="mod">
          <ac:chgData name="Thomas Stensitzki" userId="75cafe6b-2f2a-469b-85c4-eec3b9c972ba" providerId="ADAL" clId="{20DBE477-A6EA-416C-A703-7F6801C4C8C8}" dt="2022-09-13T15:54:45.433" v="3572"/>
          <ac:picMkLst>
            <pc:docMk/>
            <pc:sldMk cId="2936239051" sldId="2147470045"/>
            <ac:picMk id="11" creationId="{39ACADE8-7F9F-BD64-3F3D-097FB210B91E}"/>
          </ac:picMkLst>
        </pc:picChg>
      </pc:sldChg>
      <pc:sldChg chg="addSp delSp modSp new mod modClrScheme chgLayout">
        <pc:chgData name="Thomas Stensitzki" userId="75cafe6b-2f2a-469b-85c4-eec3b9c972ba" providerId="ADAL" clId="{20DBE477-A6EA-416C-A703-7F6801C4C8C8}" dt="2022-09-06T17:02:21.174" v="3397" actId="21"/>
        <pc:sldMkLst>
          <pc:docMk/>
          <pc:sldMk cId="980205042" sldId="2147470046"/>
        </pc:sldMkLst>
        <pc:spChg chg="del">
          <ac:chgData name="Thomas Stensitzki" userId="75cafe6b-2f2a-469b-85c4-eec3b9c972ba" providerId="ADAL" clId="{20DBE477-A6EA-416C-A703-7F6801C4C8C8}" dt="2022-09-06T16:57:07.508" v="3014" actId="700"/>
          <ac:spMkLst>
            <pc:docMk/>
            <pc:sldMk cId="980205042" sldId="2147470046"/>
            <ac:spMk id="2" creationId="{34BBAB99-F55A-971E-B706-668C686D3311}"/>
          </ac:spMkLst>
        </pc:spChg>
        <pc:spChg chg="del mod ord">
          <ac:chgData name="Thomas Stensitzki" userId="75cafe6b-2f2a-469b-85c4-eec3b9c972ba" providerId="ADAL" clId="{20DBE477-A6EA-416C-A703-7F6801C4C8C8}" dt="2022-09-06T16:57:07.508" v="3014" actId="700"/>
          <ac:spMkLst>
            <pc:docMk/>
            <pc:sldMk cId="980205042" sldId="2147470046"/>
            <ac:spMk id="3" creationId="{CDC619A9-EBDE-8BCA-FA53-6A4CDC507487}"/>
          </ac:spMkLst>
        </pc:spChg>
        <pc:spChg chg="del">
          <ac:chgData name="Thomas Stensitzki" userId="75cafe6b-2f2a-469b-85c4-eec3b9c972ba" providerId="ADAL" clId="{20DBE477-A6EA-416C-A703-7F6801C4C8C8}" dt="2022-09-06T16:57:07.508" v="3014" actId="700"/>
          <ac:spMkLst>
            <pc:docMk/>
            <pc:sldMk cId="980205042" sldId="2147470046"/>
            <ac:spMk id="4" creationId="{55386056-3BA7-ADCE-DF2C-F5C0C2EF35F1}"/>
          </ac:spMkLst>
        </pc:spChg>
        <pc:spChg chg="add mod ord">
          <ac:chgData name="Thomas Stensitzki" userId="75cafe6b-2f2a-469b-85c4-eec3b9c972ba" providerId="ADAL" clId="{20DBE477-A6EA-416C-A703-7F6801C4C8C8}" dt="2022-09-06T16:57:22.111" v="3047" actId="20577"/>
          <ac:spMkLst>
            <pc:docMk/>
            <pc:sldMk cId="980205042" sldId="2147470046"/>
            <ac:spMk id="5" creationId="{A7F66184-013A-669E-3D5E-E9EA6C40113F}"/>
          </ac:spMkLst>
        </pc:spChg>
        <pc:spChg chg="add mod ord">
          <ac:chgData name="Thomas Stensitzki" userId="75cafe6b-2f2a-469b-85c4-eec3b9c972ba" providerId="ADAL" clId="{20DBE477-A6EA-416C-A703-7F6801C4C8C8}" dt="2022-09-06T17:02:21.174" v="3397" actId="21"/>
          <ac:spMkLst>
            <pc:docMk/>
            <pc:sldMk cId="980205042" sldId="2147470046"/>
            <ac:spMk id="6" creationId="{AC653C24-F840-12ED-9EB1-C613C5617F41}"/>
          </ac:spMkLst>
        </pc:spChg>
      </pc:sldChg>
      <pc:sldChg chg="modSp add mod">
        <pc:chgData name="Thomas Stensitzki" userId="75cafe6b-2f2a-469b-85c4-eec3b9c972ba" providerId="ADAL" clId="{20DBE477-A6EA-416C-A703-7F6801C4C8C8}" dt="2022-09-06T17:10:34.207" v="3502" actId="6549"/>
        <pc:sldMkLst>
          <pc:docMk/>
          <pc:sldMk cId="3162674606" sldId="2147470047"/>
        </pc:sldMkLst>
        <pc:spChg chg="mod">
          <ac:chgData name="Thomas Stensitzki" userId="75cafe6b-2f2a-469b-85c4-eec3b9c972ba" providerId="ADAL" clId="{20DBE477-A6EA-416C-A703-7F6801C4C8C8}" dt="2022-09-06T17:10:34.207" v="3502" actId="6549"/>
          <ac:spMkLst>
            <pc:docMk/>
            <pc:sldMk cId="3162674606" sldId="2147470047"/>
            <ac:spMk id="3" creationId="{89B7D778-FDD3-A434-7E12-A3A88AABE4D3}"/>
          </ac:spMkLst>
        </pc:spChg>
      </pc:sldChg>
      <pc:sldChg chg="addSp delSp modSp new del mod chgLayout">
        <pc:chgData name="Thomas Stensitzki" userId="75cafe6b-2f2a-469b-85c4-eec3b9c972ba" providerId="ADAL" clId="{20DBE477-A6EA-416C-A703-7F6801C4C8C8}" dt="2022-09-06T17:18:48.560" v="3522" actId="2696"/>
        <pc:sldMkLst>
          <pc:docMk/>
          <pc:sldMk cId="1919803435" sldId="2147470048"/>
        </pc:sldMkLst>
        <pc:spChg chg="del">
          <ac:chgData name="Thomas Stensitzki" userId="75cafe6b-2f2a-469b-85c4-eec3b9c972ba" providerId="ADAL" clId="{20DBE477-A6EA-416C-A703-7F6801C4C8C8}" dt="2022-09-06T17:18:24.848" v="3504" actId="700"/>
          <ac:spMkLst>
            <pc:docMk/>
            <pc:sldMk cId="1919803435" sldId="2147470048"/>
            <ac:spMk id="2" creationId="{C7CEA817-75B1-65FD-B016-57EE15E16D31}"/>
          </ac:spMkLst>
        </pc:spChg>
        <pc:spChg chg="del">
          <ac:chgData name="Thomas Stensitzki" userId="75cafe6b-2f2a-469b-85c4-eec3b9c972ba" providerId="ADAL" clId="{20DBE477-A6EA-416C-A703-7F6801C4C8C8}" dt="2022-09-06T17:18:24.848" v="3504" actId="700"/>
          <ac:spMkLst>
            <pc:docMk/>
            <pc:sldMk cId="1919803435" sldId="2147470048"/>
            <ac:spMk id="3" creationId="{9F336E25-CDD1-D0A2-F426-B3C0BE5B1C2F}"/>
          </ac:spMkLst>
        </pc:spChg>
        <pc:spChg chg="add mod ord">
          <ac:chgData name="Thomas Stensitzki" userId="75cafe6b-2f2a-469b-85c4-eec3b9c972ba" providerId="ADAL" clId="{20DBE477-A6EA-416C-A703-7F6801C4C8C8}" dt="2022-09-06T17:18:24.848" v="3504" actId="700"/>
          <ac:spMkLst>
            <pc:docMk/>
            <pc:sldMk cId="1919803435" sldId="2147470048"/>
            <ac:spMk id="4" creationId="{BFCE6509-BA6A-B85E-39D2-5D2773BEEB2F}"/>
          </ac:spMkLst>
        </pc:spChg>
        <pc:spChg chg="add mod ord">
          <ac:chgData name="Thomas Stensitzki" userId="75cafe6b-2f2a-469b-85c4-eec3b9c972ba" providerId="ADAL" clId="{20DBE477-A6EA-416C-A703-7F6801C4C8C8}" dt="2022-09-06T17:18:40.284" v="3521" actId="20577"/>
          <ac:spMkLst>
            <pc:docMk/>
            <pc:sldMk cId="1919803435" sldId="2147470048"/>
            <ac:spMk id="5" creationId="{25E23F49-1EF2-6675-92BC-C2A660FEBAB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BDD3D-99DA-4A1D-B224-AE92BB309D4F}" type="datetimeFigureOut">
              <a:rPr lang="en-US" smtClean="0"/>
              <a:t>9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3BE85-99F4-4B3C-A298-EB819596EE3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650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50" dirty="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16/2022 10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1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0470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5035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9395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7623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8894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648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639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078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060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27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50" dirty="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16/2022 10:2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5613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3311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2439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4303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6663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3334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3159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40112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73425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26147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82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3068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190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0001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927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88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37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333333"/>
                </a:solidFill>
                <a:effectLst/>
                <a:latin typeface="SegoeUI"/>
              </a:rPr>
              <a:t>Understanding Microsoft Information Protection Encryption Key Typ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63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305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1057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B3BE85-99F4-4B3C-A298-EB819596EE3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99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A42E6-889E-F787-8CEC-7DD334AB63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43FFED-59CF-034E-BBDE-BBF0E45A71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8926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DBBC-C9B7-7B17-D965-7840485B0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4642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1946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7CC5E-D5B6-33C7-B770-F750A22C2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864E9B-D449-964C-0704-DA6C3FA42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DFCD33-0289-DED1-1323-EDE510CC06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6741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F1C4B08-89A7-32D5-9307-2C331D09F1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C189B0-150D-85A0-CE90-1672673023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68AFBA-1142-3EDE-1BB5-45FE9DAFC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1716249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4EFE4-0D47-6EEC-BA09-2809BA66B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10515600" cy="3096410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F5F6F8-756E-14B4-D90B-33650CC78E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68" y="810398"/>
            <a:ext cx="1529739" cy="327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31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F1C4B08-89A7-32D5-9307-2C331D09F1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901"/>
            <a:ext cx="12192000" cy="68520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C189B0-150D-85A0-CE90-1672673023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68AFBA-1142-3EDE-1BB5-45FE9DAFC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1716249"/>
            <a:ext cx="10515600" cy="1325563"/>
          </a:xfrm>
        </p:spPr>
        <p:txBody>
          <a:bodyPr/>
          <a:lstStyle>
            <a:lvl1pPr>
              <a:defRPr>
                <a:solidFill>
                  <a:srgbClr val="0038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4EFE4-0D47-6EEC-BA09-2809BA66B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3176749"/>
            <a:ext cx="10515600" cy="3096410"/>
          </a:xfrm>
        </p:spPr>
        <p:txBody>
          <a:bodyPr/>
          <a:lstStyle>
            <a:lvl1pPr>
              <a:defRPr>
                <a:solidFill>
                  <a:srgbClr val="003867"/>
                </a:solidFill>
              </a:defRPr>
            </a:lvl1pPr>
            <a:lvl2pPr>
              <a:defRPr>
                <a:solidFill>
                  <a:srgbClr val="003867"/>
                </a:solidFill>
              </a:defRPr>
            </a:lvl2pPr>
            <a:lvl3pPr>
              <a:defRPr>
                <a:solidFill>
                  <a:srgbClr val="003867"/>
                </a:solidFill>
              </a:defRPr>
            </a:lvl3pPr>
            <a:lvl4pPr>
              <a:defRPr>
                <a:solidFill>
                  <a:srgbClr val="003867"/>
                </a:solidFill>
              </a:defRPr>
            </a:lvl4pPr>
            <a:lvl5pPr>
              <a:defRPr>
                <a:solidFill>
                  <a:srgbClr val="00386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BCECA8-978E-5A17-E352-D0533CA2A77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6479" y="810398"/>
            <a:ext cx="1520900" cy="32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75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8F0AF6-3C82-E8ED-E86D-0D82CF428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7D545A-ED45-A00D-D7E2-A4AA74C856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6317ED-D2BF-EC12-40F8-88D2306D90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CDD52B-C48E-40EA-C8AA-486376EFA2CA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E35698-15C3-06EF-8B8E-B3D7AF418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483" y="2797493"/>
            <a:ext cx="9215437" cy="23876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B05D85-1252-428E-7AB9-868F493D87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800" y="1892936"/>
            <a:ext cx="8788400" cy="778827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C31A64-527C-4EEF-79AC-F245D0811C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853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8F0AF6-3C82-E8ED-E86D-0D82CF4284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7D545A-ED45-A00D-D7E2-A4AA74C856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20" b="84416"/>
          <a:stretch/>
        </p:blipFill>
        <p:spPr>
          <a:xfrm>
            <a:off x="0" y="5378501"/>
            <a:ext cx="12192000" cy="15001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6317ED-D2BF-EC12-40F8-88D2306D90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1" y="6012674"/>
            <a:ext cx="859917" cy="7832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0CDD52B-C48E-40EA-C8AA-486376EFA2CA}"/>
              </a:ext>
            </a:extLst>
          </p:cNvPr>
          <p:cNvSpPr/>
          <p:nvPr userDrawn="1"/>
        </p:nvSpPr>
        <p:spPr>
          <a:xfrm>
            <a:off x="0" y="1087120"/>
            <a:ext cx="12192000" cy="4755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E35698-15C3-06EF-8B8E-B3D7AF418BD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483" y="2002972"/>
            <a:ext cx="9215437" cy="23876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B05D85-1252-428E-7AB9-868F493D87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800" y="1098415"/>
            <a:ext cx="8788400" cy="778827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385F30-DE3E-36E5-7D71-A6B77814D31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6215082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08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2C486FA-6FAF-21F0-BFE3-8ACB8E496145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2112"/>
            <a:ext cx="10515600" cy="10737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28416"/>
            <a:ext cx="5181600" cy="35493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28416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189D03-544E-51E4-41FE-A6688D2655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520" b="84416"/>
          <a:stretch/>
        </p:blipFill>
        <p:spPr>
          <a:xfrm>
            <a:off x="0" y="5378501"/>
            <a:ext cx="12192000" cy="15001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D93ABE-E660-EAC8-4BC7-655056AF01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1" y="6012674"/>
            <a:ext cx="859917" cy="7832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5FF393B-6AAC-3F6E-9E1A-2E6E5AAB6F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6215082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91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D864664-8F4C-6068-100E-D1A0EFF69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F9A844-49CA-8AB7-C7D4-676E7E8EE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2C486FA-6FAF-21F0-BFE3-8ACB8E496145}"/>
              </a:ext>
            </a:extLst>
          </p:cNvPr>
          <p:cNvSpPr/>
          <p:nvPr userDrawn="1"/>
        </p:nvSpPr>
        <p:spPr>
          <a:xfrm>
            <a:off x="0" y="1087120"/>
            <a:ext cx="12192000" cy="5496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86575"/>
            <a:ext cx="10515600" cy="10737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722879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722879"/>
            <a:ext cx="5181600" cy="3549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7137E7-FAE1-78FA-CFFE-D592C60187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78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D864664-8F4C-6068-100E-D1A0EFF699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7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F9A844-49CA-8AB7-C7D4-676E7E8EE7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2164" y="178014"/>
            <a:ext cx="968479" cy="8821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3973B9-C338-0147-4523-F32576AE17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94309"/>
            <a:ext cx="10515600" cy="10737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FC15BC-7017-BED7-25AE-DB20C04E0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130613"/>
            <a:ext cx="5181600" cy="3549373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4DF90B-FEDB-2D32-E058-4D300FA96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3130613"/>
            <a:ext cx="5181600" cy="3549373"/>
          </a:xfrm>
        </p:spPr>
        <p:txBody>
          <a:bodyPr/>
          <a:lstStyle>
            <a:lvl1pPr>
              <a:defRPr>
                <a:solidFill>
                  <a:srgbClr val="59E6FD"/>
                </a:solidFill>
              </a:defRPr>
            </a:lvl1pPr>
            <a:lvl2pPr>
              <a:defRPr>
                <a:solidFill>
                  <a:srgbClr val="59E6FD"/>
                </a:solidFill>
              </a:defRPr>
            </a:lvl2pPr>
            <a:lvl3pPr>
              <a:defRPr>
                <a:solidFill>
                  <a:srgbClr val="59E6FD"/>
                </a:solidFill>
              </a:defRPr>
            </a:lvl3pPr>
            <a:lvl4pPr>
              <a:defRPr>
                <a:solidFill>
                  <a:srgbClr val="59E6FD"/>
                </a:solidFill>
              </a:defRPr>
            </a:lvl4pPr>
            <a:lvl5pPr>
              <a:defRPr>
                <a:solidFill>
                  <a:srgbClr val="59E6F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9A3D14-A15D-D77A-6A3D-FF8B05F74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62" y="397776"/>
            <a:ext cx="1328344" cy="2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627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DE046-98F8-55B0-3EFB-9C55B7F1E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3B76ED-9519-3ACA-F184-9AE8940920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A1234-319D-2F2F-1A9F-2DB3DB22F0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A91D7A-4B53-A768-57F5-77B9D5835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F5654-36C8-AC4A-B4A9-C845EC1E19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410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68F1EC-6326-27A3-D587-280E24470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5E05E-F60F-1192-403A-F9633246EE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3E8E8F-6B75-6270-D5BC-564450DA77F8}"/>
              </a:ext>
            </a:extLst>
          </p:cNvPr>
          <p:cNvSpPr/>
          <p:nvPr userDrawn="1"/>
        </p:nvSpPr>
        <p:spPr>
          <a:xfrm>
            <a:off x="12393637" y="0"/>
            <a:ext cx="956603" cy="956603"/>
          </a:xfrm>
          <a:prstGeom prst="rect">
            <a:avLst/>
          </a:prstGeom>
          <a:solidFill>
            <a:srgbClr val="0038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003867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BE607A-E3D5-42B7-AEDD-B55EAEFD9379}"/>
              </a:ext>
            </a:extLst>
          </p:cNvPr>
          <p:cNvSpPr/>
          <p:nvPr userDrawn="1"/>
        </p:nvSpPr>
        <p:spPr>
          <a:xfrm>
            <a:off x="12393637" y="1111348"/>
            <a:ext cx="956603" cy="956603"/>
          </a:xfrm>
          <a:prstGeom prst="rect">
            <a:avLst/>
          </a:prstGeom>
          <a:solidFill>
            <a:srgbClr val="59E6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rgbClr val="0038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00386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526F7C-BBD5-26BF-7446-B882004FD004}"/>
              </a:ext>
            </a:extLst>
          </p:cNvPr>
          <p:cNvSpPr/>
          <p:nvPr userDrawn="1"/>
        </p:nvSpPr>
        <p:spPr>
          <a:xfrm>
            <a:off x="12393637" y="2222696"/>
            <a:ext cx="956603" cy="956603"/>
          </a:xfrm>
          <a:prstGeom prst="rect">
            <a:avLst/>
          </a:prstGeom>
          <a:solidFill>
            <a:srgbClr val="415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41547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255680-D924-326B-0B53-46580DD93BC8}"/>
              </a:ext>
            </a:extLst>
          </p:cNvPr>
          <p:cNvSpPr/>
          <p:nvPr userDrawn="1"/>
        </p:nvSpPr>
        <p:spPr>
          <a:xfrm>
            <a:off x="12393637" y="3334044"/>
            <a:ext cx="956603" cy="956603"/>
          </a:xfrm>
          <a:prstGeom prst="rect">
            <a:avLst/>
          </a:prstGeom>
          <a:solidFill>
            <a:srgbClr val="137B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137BD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2DB6C8-6DC9-B2AE-C36F-D97A5B8DCE62}"/>
              </a:ext>
            </a:extLst>
          </p:cNvPr>
          <p:cNvSpPr/>
          <p:nvPr userDrawn="1"/>
        </p:nvSpPr>
        <p:spPr>
          <a:xfrm>
            <a:off x="12393637" y="4445392"/>
            <a:ext cx="956603" cy="956603"/>
          </a:xfrm>
          <a:prstGeom prst="rect">
            <a:avLst/>
          </a:prstGeom>
          <a:solidFill>
            <a:srgbClr val="28A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en-US" sz="12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#28A8EA</a:t>
            </a:r>
          </a:p>
        </p:txBody>
      </p:sp>
    </p:spTree>
    <p:extLst>
      <p:ext uri="{BB962C8B-B14F-4D97-AF65-F5344CB8AC3E}">
        <p14:creationId xmlns:p14="http://schemas.microsoft.com/office/powerpoint/2010/main" val="2451026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9" r:id="rId4"/>
    <p:sldLayoutId id="2147483651" r:id="rId5"/>
    <p:sldLayoutId id="2147483652" r:id="rId6"/>
    <p:sldLayoutId id="2147483660" r:id="rId7"/>
    <p:sldLayoutId id="2147483657" r:id="rId8"/>
    <p:sldLayoutId id="2147483653" r:id="rId9"/>
    <p:sldLayoutId id="2147483654" r:id="rId10"/>
    <p:sldLayoutId id="2147483655" r:id="rId11"/>
    <p:sldLayoutId id="214748365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867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867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m365maps.com/" TargetMode="Externa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bit.ly/3qxCI7t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4.png"/><Relationship Id="rId5" Type="http://schemas.openxmlformats.org/officeDocument/2006/relationships/image" Target="../media/image45.png"/><Relationship Id="rId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fasttrack.microsoft.com/" TargetMode="Externa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jpg"/><Relationship Id="rId5" Type="http://schemas.openxmlformats.org/officeDocument/2006/relationships/hyperlink" Target="https://bit.ly/3qxCI7t" TargetMode="External"/><Relationship Id="rId4" Type="http://schemas.openxmlformats.org/officeDocument/2006/relationships/image" Target="../media/image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compliance/assurance/assurance-encryption-for-microsoft-365-services?WT.mc_id=M365-MVP-5003086" TargetMode="External"/><Relationship Id="rId3" Type="http://schemas.openxmlformats.org/officeDocument/2006/relationships/hyperlink" Target="https://docs.microsoft.com/microsoft-365/compliance/sit-get-started-exact-data-match-based-sits-overview?view=o365-worldwide&amp;WT.mc_id=M365-MVP-5003086" TargetMode="External"/><Relationship Id="rId7" Type="http://schemas.openxmlformats.org/officeDocument/2006/relationships/hyperlink" Target="https://docs.microsoft.com/microsoft-365/compliance/customer-key-overview?view=o365-worldwide&amp;WT.mc_id=M365-MVP-5003086#encryption-ciphers-used-by-customer-key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ocs.microsoft.com/exchange/mailbox-migration/office-365-migration-best-practices?WT.mc_id=M365-MVP-5003086#move-requests-in-the-microsoft-365-or-office-365-service" TargetMode="External"/><Relationship Id="rId5" Type="http://schemas.openxmlformats.org/officeDocument/2006/relationships/hyperlink" Target="https://docs.microsoft.com/microsoft-365/compliance/customer-key-availability-key-roll?view=o365-worldwide&amp;WT.mc_id=M365-MVP-5003086" TargetMode="External"/><Relationship Id="rId4" Type="http://schemas.openxmlformats.org/officeDocument/2006/relationships/hyperlink" Target="https://techcommunity.microsoft.com/t5/security-compliance-and-identity/understanding-microsoft-information-protection-encryption-key/ba-p/2214589?WT.mc_id=M365-MVP-5003086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microsoft-365/enterprise/multi-geo-ediscovery-configuration?view=o365-worldwide&amp;WT.mc_id=M365-MVP-5003086" TargetMode="External"/><Relationship Id="rId7" Type="http://schemas.openxmlformats.org/officeDocument/2006/relationships/hyperlink" Target="https://docs.microsoft.com/microsoft-365/compliance/sit-get-started-exact-data-match-based-sits-overview?view=o365-worldwide&amp;WT.mc_id=M365-MVP-5003086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m365maps.com/" TargetMode="External"/><Relationship Id="rId5" Type="http://schemas.openxmlformats.org/officeDocument/2006/relationships/hyperlink" Target="https://docs.microsoft.com/azure/role-based-access-control/role-assignments-portal?tabs=current&amp;WT.mc_id=EM-MVP-5003086#step-3-select-the-appropriate-role" TargetMode="External"/><Relationship Id="rId4" Type="http://schemas.openxmlformats.org/officeDocument/2006/relationships/hyperlink" Target="https://docs.microsoft.com/microsoft-365/compliance/technical-reference-details-about-encryption?toc=%2Fcompliance%2Fassurance%2Ftoc.json&amp;bc=%2Fcompliance%2Fassurance%2Fbreadcrumb%2Ftoc.json&amp;view=o365-worldwide&amp;WT.mc_id=M365-MVP-5003086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1.emf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svg"/><Relationship Id="rId11" Type="http://schemas.openxmlformats.org/officeDocument/2006/relationships/image" Target="../media/image19.emf"/><Relationship Id="rId5" Type="http://schemas.openxmlformats.org/officeDocument/2006/relationships/image" Target="../media/image13.png"/><Relationship Id="rId10" Type="http://schemas.openxmlformats.org/officeDocument/2006/relationships/image" Target="../media/image18.emf"/><Relationship Id="rId4" Type="http://schemas.openxmlformats.org/officeDocument/2006/relationships/image" Target="../media/image12.emf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0.png"/><Relationship Id="rId18" Type="http://schemas.openxmlformats.org/officeDocument/2006/relationships/image" Target="../media/image35.emf"/><Relationship Id="rId3" Type="http://schemas.openxmlformats.org/officeDocument/2006/relationships/image" Target="../media/image20.png"/><Relationship Id="rId21" Type="http://schemas.openxmlformats.org/officeDocument/2006/relationships/image" Target="../media/image38.emf"/><Relationship Id="rId7" Type="http://schemas.openxmlformats.org/officeDocument/2006/relationships/image" Target="../media/image24.emf"/><Relationship Id="rId12" Type="http://schemas.openxmlformats.org/officeDocument/2006/relationships/image" Target="../media/image29.emf"/><Relationship Id="rId17" Type="http://schemas.openxmlformats.org/officeDocument/2006/relationships/image" Target="../media/image34.emf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3.png"/><Relationship Id="rId20" Type="http://schemas.openxmlformats.org/officeDocument/2006/relationships/image" Target="../media/image37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emf"/><Relationship Id="rId11" Type="http://schemas.openxmlformats.org/officeDocument/2006/relationships/image" Target="../media/image28.sv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19" Type="http://schemas.openxmlformats.org/officeDocument/2006/relationships/image" Target="../media/image36.emf"/><Relationship Id="rId4" Type="http://schemas.openxmlformats.org/officeDocument/2006/relationships/image" Target="../media/image21.svg"/><Relationship Id="rId9" Type="http://schemas.openxmlformats.org/officeDocument/2006/relationships/image" Target="../media/image26.emf"/><Relationship Id="rId14" Type="http://schemas.openxmlformats.org/officeDocument/2006/relationships/image" Target="../media/image31.png"/><Relationship Id="rId22" Type="http://schemas.openxmlformats.org/officeDocument/2006/relationships/image" Target="../media/image3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B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BF18B4-FE01-6150-D75E-B882CF1876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8200EFD-835C-6241-2747-FD2CD9CE3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D61A3FC1-C5E5-EB91-BEDA-7F688D8093D4}"/>
              </a:ext>
            </a:extLst>
          </p:cNvPr>
          <p:cNvSpPr/>
          <p:nvPr/>
        </p:nvSpPr>
        <p:spPr>
          <a:xfrm>
            <a:off x="531386" y="2280114"/>
            <a:ext cx="840576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59E6FD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icrosoft Exchange Community (MEC)</a:t>
            </a:r>
            <a:r>
              <a:rPr lang="en-US" sz="3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</a:p>
          <a:p>
            <a:r>
              <a:rPr lang="en-US" sz="7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echnical Airlif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979371-FA6A-0B37-EE4A-972D056C65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63" y="796232"/>
            <a:ext cx="1697881" cy="36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575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DDFA40F-9C3A-9B97-D35C-8884C5FE0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Customer Key available?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3EC28F-4A0C-22BE-BC2B-30336EF363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ditional encryption layer on top of BitLocker in Microsoft  data centers</a:t>
            </a:r>
          </a:p>
          <a:p>
            <a:r>
              <a:rPr lang="en-US" dirty="0"/>
              <a:t>Access separation for system administrators </a:t>
            </a:r>
          </a:p>
          <a:p>
            <a:r>
              <a:rPr lang="en-US" dirty="0"/>
              <a:t>Meet dedicated compliance requirements for data encryption </a:t>
            </a:r>
          </a:p>
          <a:p>
            <a:r>
              <a:rPr lang="en-US" dirty="0"/>
              <a:t>Provide a customer-based key management</a:t>
            </a:r>
          </a:p>
        </p:txBody>
      </p:sp>
    </p:spTree>
    <p:extLst>
      <p:ext uri="{BB962C8B-B14F-4D97-AF65-F5344CB8AC3E}">
        <p14:creationId xmlns:p14="http://schemas.microsoft.com/office/powerpoint/2010/main" val="77245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Key Basic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Key Vaults in </a:t>
            </a:r>
            <a:r>
              <a:rPr lang="en-US" b="1" dirty="0"/>
              <a:t>two separate </a:t>
            </a:r>
            <a:r>
              <a:rPr lang="en-US" dirty="0"/>
              <a:t>Azure subscriptions</a:t>
            </a:r>
          </a:p>
          <a:p>
            <a:pPr lvl="1"/>
            <a:r>
              <a:rPr lang="en-US" dirty="0"/>
              <a:t>Enterprise Agreement (EA) or Cloud Solution Provider (CSP)</a:t>
            </a:r>
          </a:p>
          <a:p>
            <a:r>
              <a:rPr lang="en-US" dirty="0"/>
              <a:t>Initial customer key setup in </a:t>
            </a:r>
            <a:r>
              <a:rPr lang="en-US" b="1" dirty="0"/>
              <a:t>FastTrack Portal </a:t>
            </a:r>
          </a:p>
          <a:p>
            <a:r>
              <a:rPr lang="en-US" dirty="0"/>
              <a:t>3 key encryption options</a:t>
            </a:r>
          </a:p>
          <a:p>
            <a:pPr lvl="1"/>
            <a:r>
              <a:rPr lang="en-US" b="1" dirty="0"/>
              <a:t>General Microsoft 365 </a:t>
            </a:r>
            <a:r>
              <a:rPr lang="en-US" dirty="0"/>
              <a:t>Data-at-Rest encryption</a:t>
            </a:r>
          </a:p>
          <a:p>
            <a:pPr lvl="1"/>
            <a:r>
              <a:rPr lang="en-US" b="1" dirty="0"/>
              <a:t>Exchange Online </a:t>
            </a:r>
            <a:r>
              <a:rPr lang="en-US" dirty="0"/>
              <a:t>mailbox and </a:t>
            </a:r>
          </a:p>
          <a:p>
            <a:pPr lvl="1"/>
            <a:r>
              <a:rPr lang="en-US" b="1" dirty="0"/>
              <a:t>SharePoint Online </a:t>
            </a:r>
            <a:r>
              <a:rPr lang="en-US" dirty="0"/>
              <a:t>encryption (incl. OneDrive and Microsoft Teams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048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Key Basic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age</a:t>
            </a:r>
          </a:p>
          <a:p>
            <a:pPr lvl="1"/>
            <a:r>
              <a:rPr lang="en-US" dirty="0"/>
              <a:t>Create a Data Encryption Policy (DEP)</a:t>
            </a:r>
          </a:p>
          <a:p>
            <a:pPr lvl="1"/>
            <a:r>
              <a:rPr lang="en-US" dirty="0"/>
              <a:t>Assign a DEP to your tenant, a user, or a SharePoint site</a:t>
            </a:r>
          </a:p>
          <a:p>
            <a:r>
              <a:rPr lang="en-US" dirty="0"/>
              <a:t>Management</a:t>
            </a:r>
          </a:p>
          <a:p>
            <a:pPr lvl="1"/>
            <a:r>
              <a:rPr lang="en-US" dirty="0"/>
              <a:t>Customer key rotation by customer</a:t>
            </a:r>
          </a:p>
          <a:p>
            <a:pPr lvl="1"/>
            <a:r>
              <a:rPr lang="en-US" dirty="0"/>
              <a:t>Availability key rotation by Microsoft 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No direct control by custo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0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 </a:t>
            </a:r>
            <a:r>
              <a:rPr lang="en-US" b="1" dirty="0"/>
              <a:t>not</a:t>
            </a:r>
            <a:r>
              <a:rPr lang="en-US" dirty="0"/>
              <a:t> delete keys associated with an active policy, or a policy assigned to resources on hold</a:t>
            </a:r>
          </a:p>
          <a:p>
            <a:r>
              <a:rPr lang="en-US" dirty="0"/>
              <a:t>A key rotation triggers a </a:t>
            </a:r>
            <a:r>
              <a:rPr lang="en-US" b="1" dirty="0"/>
              <a:t>decryption</a:t>
            </a:r>
            <a:r>
              <a:rPr lang="en-US" dirty="0"/>
              <a:t> and </a:t>
            </a:r>
            <a:r>
              <a:rPr lang="en-US" b="1" dirty="0"/>
              <a:t>re-encryption</a:t>
            </a:r>
            <a:r>
              <a:rPr lang="en-US" dirty="0"/>
              <a:t> using a new key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491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Online</a:t>
            </a:r>
          </a:p>
          <a:p>
            <a:pPr lvl="1"/>
            <a:r>
              <a:rPr lang="en-US" dirty="0"/>
              <a:t>Encryption requires an assigned </a:t>
            </a:r>
            <a:r>
              <a:rPr lang="en-US" b="1" dirty="0" err="1"/>
              <a:t>CustomerKey</a:t>
            </a:r>
            <a:r>
              <a:rPr lang="en-US" dirty="0"/>
              <a:t> license option</a:t>
            </a:r>
          </a:p>
          <a:p>
            <a:pPr lvl="1"/>
            <a:r>
              <a:rPr lang="en-US" dirty="0"/>
              <a:t>Inactive mailboxes may still use an old encryption key</a:t>
            </a:r>
          </a:p>
          <a:p>
            <a:r>
              <a:rPr lang="en-US" dirty="0"/>
              <a:t>SharePoint Online</a:t>
            </a:r>
          </a:p>
          <a:p>
            <a:pPr lvl="1"/>
            <a:r>
              <a:rPr lang="en-US" dirty="0"/>
              <a:t>Existing backup sets might contain data protected by an old encryption key</a:t>
            </a:r>
          </a:p>
          <a:p>
            <a:r>
              <a:rPr lang="en-US" dirty="0"/>
              <a:t>Constant risk of belated data loss due to key deletion</a:t>
            </a:r>
          </a:p>
        </p:txBody>
      </p:sp>
    </p:spTree>
    <p:extLst>
      <p:ext uri="{BB962C8B-B14F-4D97-AF65-F5344CB8AC3E}">
        <p14:creationId xmlns:p14="http://schemas.microsoft.com/office/powerpoint/2010/main" val="195811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90D2383-2E19-EC3C-70D0-19125067A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censing</a:t>
            </a:r>
          </a:p>
        </p:txBody>
      </p:sp>
      <p:pic>
        <p:nvPicPr>
          <p:cNvPr id="5" name="Grafik 4" descr="Screenshot of the web site m365maps.com showing the list of Microsoft 365 license plan features, filtered for &quot;Customer Key&quot;.">
            <a:extLst>
              <a:ext uri="{FF2B5EF4-FFF2-40B4-BE49-F238E27FC236}">
                <a16:creationId xmlns:a16="http://schemas.microsoft.com/office/drawing/2014/main" id="{01BA14E3-5D0F-4753-6337-6898C2FC9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234" y="1563379"/>
            <a:ext cx="11133221" cy="32382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Grafik 5" descr="Screenshot of an Exchange Online PowerShell session showing the PersistedCapabilities attribute of a mailbox">
            <a:extLst>
              <a:ext uri="{FF2B5EF4-FFF2-40B4-BE49-F238E27FC236}">
                <a16:creationId xmlns:a16="http://schemas.microsoft.com/office/drawing/2014/main" id="{83A25702-ECAE-4F28-70A9-D9777CC1C9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8510" y="4164901"/>
            <a:ext cx="9666667" cy="3533333"/>
          </a:xfrm>
          <a:prstGeom prst="rect">
            <a:avLst/>
          </a:prstGeom>
        </p:spPr>
      </p:pic>
      <p:sp>
        <p:nvSpPr>
          <p:cNvPr id="7" name="Rechteck 6" descr="A frame highlighting the customer capability">
            <a:extLst>
              <a:ext uri="{FF2B5EF4-FFF2-40B4-BE49-F238E27FC236}">
                <a16:creationId xmlns:a16="http://schemas.microsoft.com/office/drawing/2014/main" id="{6E208712-2791-67F2-E331-0752AE042F00}"/>
              </a:ext>
            </a:extLst>
          </p:cNvPr>
          <p:cNvSpPr/>
          <p:nvPr/>
        </p:nvSpPr>
        <p:spPr>
          <a:xfrm>
            <a:off x="1229635" y="5034475"/>
            <a:ext cx="1003427" cy="336422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hteck 7" descr="A frame highlighting the custoemr key license feature">
            <a:extLst>
              <a:ext uri="{FF2B5EF4-FFF2-40B4-BE49-F238E27FC236}">
                <a16:creationId xmlns:a16="http://schemas.microsoft.com/office/drawing/2014/main" id="{6102BE6D-623C-424D-ECE0-137D9F0659F5}"/>
              </a:ext>
            </a:extLst>
          </p:cNvPr>
          <p:cNvSpPr/>
          <p:nvPr/>
        </p:nvSpPr>
        <p:spPr>
          <a:xfrm>
            <a:off x="449163" y="3154218"/>
            <a:ext cx="11308728" cy="1010683"/>
          </a:xfrm>
          <a:prstGeom prst="rect">
            <a:avLst/>
          </a:prstGeom>
          <a:noFill/>
          <a:ln w="5715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8FA363-6892-CC52-C782-7E4726C863AD}"/>
              </a:ext>
            </a:extLst>
          </p:cNvPr>
          <p:cNvSpPr txBox="1"/>
          <p:nvPr/>
        </p:nvSpPr>
        <p:spPr>
          <a:xfrm>
            <a:off x="8554214" y="1194047"/>
            <a:ext cx="31803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>
                <a:hlinkClick r:id="rId5"/>
              </a:rPr>
              <a:t>https://m365maps.com</a:t>
            </a:r>
            <a:r>
              <a:rPr lang="en-US"/>
              <a:t> </a:t>
            </a:r>
            <a:endParaRPr lang="en-US" dirty="0"/>
          </a:p>
        </p:txBody>
      </p:sp>
      <p:sp>
        <p:nvSpPr>
          <p:cNvPr id="10" name="Label-Chunks" descr="Speech bubble labeled &quot;Exchange Online Management Shell&quot; pointing to the EXO PowerShell screenshot.">
            <a:extLst>
              <a:ext uri="{FF2B5EF4-FFF2-40B4-BE49-F238E27FC236}">
                <a16:creationId xmlns:a16="http://schemas.microsoft.com/office/drawing/2014/main" id="{205879AD-4F6B-DFEF-4347-AF4227D1867E}"/>
              </a:ext>
            </a:extLst>
          </p:cNvPr>
          <p:cNvSpPr/>
          <p:nvPr/>
        </p:nvSpPr>
        <p:spPr>
          <a:xfrm>
            <a:off x="8895242" y="5999915"/>
            <a:ext cx="2719005" cy="742248"/>
          </a:xfrm>
          <a:prstGeom prst="wedgeRoundRectCallout">
            <a:avLst>
              <a:gd name="adj1" fmla="val -48682"/>
              <a:gd name="adj2" fmla="val -132161"/>
              <a:gd name="adj3" fmla="val 16667"/>
            </a:avLst>
          </a:prstGeom>
          <a:solidFill>
            <a:srgbClr val="137BD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 Online Management Shell</a:t>
            </a:r>
          </a:p>
        </p:txBody>
      </p:sp>
    </p:spTree>
    <p:extLst>
      <p:ext uri="{BB962C8B-B14F-4D97-AF65-F5344CB8AC3E}">
        <p14:creationId xmlns:p14="http://schemas.microsoft.com/office/powerpoint/2010/main" val="2371320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Managemen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-Premises Hardware Service Module (HSM)</a:t>
            </a:r>
          </a:p>
          <a:p>
            <a:pPr lvl="1"/>
            <a:r>
              <a:rPr lang="en-US" dirty="0"/>
              <a:t>Recommended for use in </a:t>
            </a:r>
            <a:r>
              <a:rPr lang="en-US" b="1" dirty="0"/>
              <a:t>production</a:t>
            </a:r>
            <a:endParaRPr lang="en-US" dirty="0"/>
          </a:p>
          <a:p>
            <a:r>
              <a:rPr lang="en-US" dirty="0"/>
              <a:t>Azure Key Vault Key</a:t>
            </a:r>
          </a:p>
          <a:p>
            <a:pPr lvl="1"/>
            <a:r>
              <a:rPr lang="en-US" dirty="0"/>
              <a:t>Recommended for </a:t>
            </a:r>
            <a:r>
              <a:rPr lang="en-US" b="1" dirty="0"/>
              <a:t>testing</a:t>
            </a:r>
            <a:r>
              <a:rPr lang="en-US" dirty="0"/>
              <a:t> or </a:t>
            </a:r>
            <a:r>
              <a:rPr lang="en-US" b="1" dirty="0"/>
              <a:t>proof-of-concept</a:t>
            </a:r>
            <a:r>
              <a:rPr lang="en-US" dirty="0"/>
              <a:t> scenarios</a:t>
            </a:r>
          </a:p>
          <a:p>
            <a:r>
              <a:rPr lang="en-US" dirty="0"/>
              <a:t>Both options require Azure Key Vault for configuration and management</a:t>
            </a:r>
          </a:p>
        </p:txBody>
      </p:sp>
    </p:spTree>
    <p:extLst>
      <p:ext uri="{BB962C8B-B14F-4D97-AF65-F5344CB8AC3E}">
        <p14:creationId xmlns:p14="http://schemas.microsoft.com/office/powerpoint/2010/main" val="3846243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365 Data-at-Res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nant-wide data protection policy</a:t>
            </a:r>
          </a:p>
          <a:p>
            <a:r>
              <a:rPr lang="en-US" dirty="0"/>
              <a:t>Teams (stored in Microsoft 365 Group mailbox)</a:t>
            </a:r>
          </a:p>
          <a:p>
            <a:pPr lvl="1"/>
            <a:r>
              <a:rPr lang="en-US" dirty="0"/>
              <a:t>Chat messages (1:1 chats, group chats, meeting chats, channel conversations) </a:t>
            </a:r>
          </a:p>
          <a:p>
            <a:pPr lvl="1"/>
            <a:r>
              <a:rPr lang="en-US" dirty="0"/>
              <a:t>Media messages (images, code examples, video/audio message, wiki pictures)</a:t>
            </a:r>
          </a:p>
          <a:p>
            <a:pPr lvl="1"/>
            <a:r>
              <a:rPr lang="en-US" dirty="0"/>
              <a:t>Chat notifications and chat recommendations by Cortana </a:t>
            </a:r>
          </a:p>
          <a:p>
            <a:pPr lvl="1"/>
            <a:r>
              <a:rPr lang="en-US" dirty="0"/>
              <a:t>Status messages</a:t>
            </a:r>
          </a:p>
        </p:txBody>
      </p:sp>
    </p:spTree>
    <p:extLst>
      <p:ext uri="{BB962C8B-B14F-4D97-AF65-F5344CB8AC3E}">
        <p14:creationId xmlns:p14="http://schemas.microsoft.com/office/powerpoint/2010/main" val="3047873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365 Data-at-Res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change Online </a:t>
            </a:r>
          </a:p>
          <a:p>
            <a:pPr lvl="1"/>
            <a:r>
              <a:rPr lang="en-US" dirty="0"/>
              <a:t>User and signal information</a:t>
            </a:r>
          </a:p>
          <a:p>
            <a:pPr lvl="1"/>
            <a:r>
              <a:rPr lang="en-US" dirty="0"/>
              <a:t>Mailboxes that do not use a dedicated encryption policy</a:t>
            </a:r>
          </a:p>
          <a:p>
            <a:r>
              <a:rPr lang="en-US" dirty="0"/>
              <a:t>Microsoft Information Protection</a:t>
            </a:r>
          </a:p>
          <a:p>
            <a:pPr lvl="1"/>
            <a:r>
              <a:rPr lang="en-US" dirty="0"/>
              <a:t>Exact Data Match (EDM) data of sensitive information types </a:t>
            </a:r>
          </a:p>
          <a:p>
            <a:pPr lvl="1"/>
            <a:r>
              <a:rPr lang="en-US" dirty="0"/>
              <a:t>Sensitivity Label</a:t>
            </a:r>
          </a:p>
        </p:txBody>
      </p:sp>
    </p:spTree>
    <p:extLst>
      <p:ext uri="{BB962C8B-B14F-4D97-AF65-F5344CB8AC3E}">
        <p14:creationId xmlns:p14="http://schemas.microsoft.com/office/powerpoint/2010/main" val="4049536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365 Data-at-Res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crypts</a:t>
            </a:r>
          </a:p>
          <a:p>
            <a:pPr lvl="1"/>
            <a:r>
              <a:rPr lang="en-US" dirty="0"/>
              <a:t>New Teams and EDM data </a:t>
            </a:r>
            <a:r>
              <a:rPr lang="en-US" b="1" dirty="0"/>
              <a:t>after</a:t>
            </a:r>
            <a:r>
              <a:rPr lang="en-US" dirty="0"/>
              <a:t> DEP assignment</a:t>
            </a:r>
          </a:p>
          <a:p>
            <a:pPr lvl="1"/>
            <a:r>
              <a:rPr lang="en-US" dirty="0"/>
              <a:t>Exchange Online mailbox content </a:t>
            </a:r>
            <a:r>
              <a:rPr lang="en-US" b="1" dirty="0"/>
              <a:t>completely</a:t>
            </a:r>
          </a:p>
        </p:txBody>
      </p:sp>
    </p:spTree>
    <p:extLst>
      <p:ext uri="{BB962C8B-B14F-4D97-AF65-F5344CB8AC3E}">
        <p14:creationId xmlns:p14="http://schemas.microsoft.com/office/powerpoint/2010/main" val="715577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B5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BF18B4-FE01-6150-D75E-B882CF1876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8200EFD-835C-6241-2747-FD2CD9CE3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366" y="5141751"/>
            <a:ext cx="1718517" cy="1565273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FA1068C-23B7-33A8-C067-C92777069DAE}"/>
              </a:ext>
            </a:extLst>
          </p:cNvPr>
          <p:cNvSpPr/>
          <p:nvPr/>
        </p:nvSpPr>
        <p:spPr>
          <a:xfrm>
            <a:off x="653402" y="2018454"/>
            <a:ext cx="72155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 Encryption with Purview Customer Ke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4C2406-BDEB-79E2-1E9F-2EF156F3EEE9}"/>
              </a:ext>
            </a:extLst>
          </p:cNvPr>
          <p:cNvSpPr/>
          <p:nvPr/>
        </p:nvSpPr>
        <p:spPr>
          <a:xfrm>
            <a:off x="653402" y="3520894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200" dirty="0">
                <a:solidFill>
                  <a:srgbClr val="59E6F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76C205C-E399-B8FD-5A38-5E63E823C5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63" y="796232"/>
            <a:ext cx="1697881" cy="363982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110077D-6B8F-DB38-A348-6F67F616A3B0}"/>
              </a:ext>
            </a:extLst>
          </p:cNvPr>
          <p:cNvGrpSpPr/>
          <p:nvPr/>
        </p:nvGrpSpPr>
        <p:grpSpPr>
          <a:xfrm>
            <a:off x="838589" y="4307753"/>
            <a:ext cx="5083834" cy="2292935"/>
            <a:chOff x="740720" y="4134334"/>
            <a:chExt cx="5083834" cy="2292935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CA1380D-1961-4C03-91FA-1F50293675AD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Thomas Stensitzki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GRANIKOS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Thomas.Stensitzki@Granikos.eu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tensitzki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it.ly/3qxCI7t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 </a:t>
              </a: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A677674C-D6F6-A5C0-A16B-EDD5B1E98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7910" y="4380194"/>
              <a:ext cx="1348618" cy="1348618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</p:grpSp>
    </p:spTree>
    <p:extLst>
      <p:ext uri="{BB962C8B-B14F-4D97-AF65-F5344CB8AC3E}">
        <p14:creationId xmlns:p14="http://schemas.microsoft.com/office/powerpoint/2010/main" val="29246427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E3D0C6B-B2AD-CB7B-748B-94DC3DAE6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365 Data-at-Res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12EE92D-E893-8C04-1CA3-92929AEAA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not encrypt</a:t>
            </a:r>
          </a:p>
          <a:p>
            <a:pPr lvl="1"/>
            <a:r>
              <a:rPr lang="en-US" dirty="0"/>
              <a:t>SharePoint Online and OneDrive</a:t>
            </a:r>
          </a:p>
          <a:p>
            <a:pPr lvl="1"/>
            <a:r>
              <a:rPr lang="en-US" dirty="0"/>
              <a:t>Teams files and recordings in SharePoint Online and OneDrive</a:t>
            </a:r>
          </a:p>
          <a:p>
            <a:pPr lvl="1"/>
            <a:r>
              <a:rPr lang="en-US" dirty="0"/>
              <a:t>Teams Live Event data</a:t>
            </a:r>
          </a:p>
          <a:p>
            <a:pPr lvl="1"/>
            <a:r>
              <a:rPr lang="en-US" dirty="0"/>
              <a:t>Other Microsoft 365 workload data, e.g., Yammer or Planner</a:t>
            </a:r>
          </a:p>
          <a:p>
            <a:r>
              <a:rPr lang="en-US" dirty="0"/>
              <a:t>Multiple Microsoft 365 Data-at-Rest DEP can exist in a tenant</a:t>
            </a:r>
          </a:p>
          <a:p>
            <a:r>
              <a:rPr lang="en-US" dirty="0"/>
              <a:t>Only </a:t>
            </a:r>
            <a:r>
              <a:rPr lang="en-US" b="1" dirty="0"/>
              <a:t>one</a:t>
            </a:r>
            <a:r>
              <a:rPr lang="en-US" dirty="0"/>
              <a:t> DEP is actively assigned and tenant-wide in use</a:t>
            </a:r>
          </a:p>
        </p:txBody>
      </p:sp>
    </p:spTree>
    <p:extLst>
      <p:ext uri="{BB962C8B-B14F-4D97-AF65-F5344CB8AC3E}">
        <p14:creationId xmlns:p14="http://schemas.microsoft.com/office/powerpoint/2010/main" val="4044408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55E47-6DDC-16C9-6413-8ADADBA3C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On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C3FDEC-540B-9360-C242-45D6A00F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ported Exchange recipient objects</a:t>
            </a:r>
          </a:p>
          <a:p>
            <a:pPr lvl="1"/>
            <a:r>
              <a:rPr lang="en-US" dirty="0"/>
              <a:t>Mailbox user</a:t>
            </a:r>
          </a:p>
          <a:p>
            <a:pPr lvl="1"/>
            <a:r>
              <a:rPr lang="en-US" dirty="0"/>
              <a:t>Mail user</a:t>
            </a:r>
          </a:p>
          <a:p>
            <a:pPr lvl="1"/>
            <a:r>
              <a:rPr lang="en-US" dirty="0"/>
              <a:t>Microsoft 365 Groups</a:t>
            </a:r>
          </a:p>
          <a:p>
            <a:pPr lvl="1"/>
            <a:r>
              <a:rPr lang="en-US" dirty="0"/>
              <a:t>Shared mailboxes</a:t>
            </a:r>
          </a:p>
          <a:p>
            <a:pPr lvl="1"/>
            <a:r>
              <a:rPr lang="en-US" dirty="0"/>
              <a:t>Public folders</a:t>
            </a:r>
          </a:p>
          <a:p>
            <a:r>
              <a:rPr lang="en-US" dirty="0"/>
              <a:t>One assigned DEP per object</a:t>
            </a:r>
          </a:p>
          <a:p>
            <a:r>
              <a:rPr lang="en-US" dirty="0"/>
              <a:t>Maximum of 50 concurrent active DEP per tena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684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1070771-0530-6372-FCA2-511951082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change Online und Microsoft Teams</a:t>
            </a:r>
            <a:endParaRPr lang="en-US" dirty="0"/>
          </a:p>
        </p:txBody>
      </p:sp>
      <p:grpSp>
        <p:nvGrpSpPr>
          <p:cNvPr id="5" name="Customer Key">
            <a:extLst>
              <a:ext uri="{FF2B5EF4-FFF2-40B4-BE49-F238E27FC236}">
                <a16:creationId xmlns:a16="http://schemas.microsoft.com/office/drawing/2014/main" id="{553D93F8-B5A2-B1FB-5B40-D6915D5739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42066" y="1796994"/>
            <a:ext cx="3044802" cy="777110"/>
            <a:chOff x="2642066" y="1796994"/>
            <a:chExt cx="3044802" cy="777110"/>
          </a:xfrm>
        </p:grpSpPr>
        <p:sp>
          <p:nvSpPr>
            <p:cNvPr id="6" name="Rechteck 5" descr="A box explaning the customer key object as part of the root key pair with RSA encryption">
              <a:extLst>
                <a:ext uri="{FF2B5EF4-FFF2-40B4-BE49-F238E27FC236}">
                  <a16:creationId xmlns:a16="http://schemas.microsoft.com/office/drawing/2014/main" id="{AAF70B21-651C-7D5C-D2A2-C8985DEC27D6}"/>
                </a:ext>
              </a:extLst>
            </p:cNvPr>
            <p:cNvSpPr/>
            <p:nvPr/>
          </p:nvSpPr>
          <p:spPr>
            <a:xfrm>
              <a:off x="2880057" y="1798773"/>
              <a:ext cx="2806811" cy="775331"/>
            </a:xfrm>
            <a:prstGeom prst="rect">
              <a:avLst/>
            </a:prstGeom>
            <a:solidFill>
              <a:srgbClr val="41547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2 Customer Keys</a:t>
              </a:r>
              <a:br>
                <a:rPr lang="en-US" dirty="0"/>
              </a:br>
              <a:r>
                <a:rPr lang="en-US" i="1" dirty="0"/>
                <a:t>Azure Key Vault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0BD565F-2223-A248-0A39-4628BFD74055}"/>
                </a:ext>
              </a:extLst>
            </p:cNvPr>
            <p:cNvSpPr/>
            <p:nvPr/>
          </p:nvSpPr>
          <p:spPr>
            <a:xfrm rot="16200000">
              <a:off x="2377385" y="2061675"/>
              <a:ext cx="767354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RSA</a:t>
              </a:r>
            </a:p>
          </p:txBody>
        </p:sp>
      </p:grpSp>
      <p:grpSp>
        <p:nvGrpSpPr>
          <p:cNvPr id="8" name="Availability Key">
            <a:extLst>
              <a:ext uri="{FF2B5EF4-FFF2-40B4-BE49-F238E27FC236}">
                <a16:creationId xmlns:a16="http://schemas.microsoft.com/office/drawing/2014/main" id="{5B847C80-18EB-8E40-7A09-D5399E565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16707" y="1790217"/>
            <a:ext cx="3056380" cy="775333"/>
            <a:chOff x="6516707" y="1790217"/>
            <a:chExt cx="3056380" cy="775333"/>
          </a:xfrm>
        </p:grpSpPr>
        <p:sp>
          <p:nvSpPr>
            <p:cNvPr id="9" name="Rechteck 8" descr="A box explaning the Office 365 Availability key object as part of the root key pair ith AES256 encryption.">
              <a:extLst>
                <a:ext uri="{FF2B5EF4-FFF2-40B4-BE49-F238E27FC236}">
                  <a16:creationId xmlns:a16="http://schemas.microsoft.com/office/drawing/2014/main" id="{A874F4C4-5111-B04A-51E5-4CB1852AE22E}"/>
                </a:ext>
              </a:extLst>
            </p:cNvPr>
            <p:cNvSpPr/>
            <p:nvPr/>
          </p:nvSpPr>
          <p:spPr>
            <a:xfrm>
              <a:off x="6516707" y="1790219"/>
              <a:ext cx="2806811" cy="775331"/>
            </a:xfrm>
            <a:prstGeom prst="rect">
              <a:avLst/>
            </a:prstGeom>
            <a:solidFill>
              <a:srgbClr val="28A8EA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Availability Key</a:t>
              </a:r>
              <a:br>
                <a:rPr lang="en-US" dirty="0"/>
              </a:br>
              <a:r>
                <a:rPr lang="en-US" i="1" dirty="0"/>
                <a:t>Office 365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B904C036-B390-2A7D-85DB-6DEE49EE154A}"/>
                </a:ext>
              </a:extLst>
            </p:cNvPr>
            <p:cNvSpPr/>
            <p:nvPr/>
          </p:nvSpPr>
          <p:spPr>
            <a:xfrm rot="16200000">
              <a:off x="9064624" y="2049109"/>
              <a:ext cx="767355" cy="24957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AES 256</a:t>
              </a:r>
            </a:p>
          </p:txBody>
        </p:sp>
      </p:grpSp>
      <p:sp>
        <p:nvSpPr>
          <p:cNvPr id="11" name="Mailboxes" descr="The mailboxes container">
            <a:extLst>
              <a:ext uri="{FF2B5EF4-FFF2-40B4-BE49-F238E27FC236}">
                <a16:creationId xmlns:a16="http://schemas.microsoft.com/office/drawing/2014/main" id="{6AFF8E4D-5264-6876-0506-5D54EBD4AD59}"/>
              </a:ext>
            </a:extLst>
          </p:cNvPr>
          <p:cNvSpPr/>
          <p:nvPr/>
        </p:nvSpPr>
        <p:spPr>
          <a:xfrm>
            <a:off x="5061792" y="5778558"/>
            <a:ext cx="2068409" cy="612648"/>
          </a:xfrm>
          <a:prstGeom prst="flowChartMagneticDisk">
            <a:avLst/>
          </a:prstGeom>
          <a:solidFill>
            <a:srgbClr val="253B5D"/>
          </a:solidFill>
          <a:ln>
            <a:solidFill>
              <a:srgbClr val="41547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Mailboxes</a:t>
            </a:r>
          </a:p>
        </p:txBody>
      </p:sp>
      <p:grpSp>
        <p:nvGrpSpPr>
          <p:cNvPr id="12" name="DEP Key" descr="Data Ecnryption Policy Key, generared from Customer Key and Availability, points to following Mailbox Key">
            <a:extLst>
              <a:ext uri="{FF2B5EF4-FFF2-40B4-BE49-F238E27FC236}">
                <a16:creationId xmlns:a16="http://schemas.microsoft.com/office/drawing/2014/main" id="{2F43ED9B-BDB8-A2B0-0982-57889CEF6E78}"/>
              </a:ext>
            </a:extLst>
          </p:cNvPr>
          <p:cNvGrpSpPr/>
          <p:nvPr/>
        </p:nvGrpSpPr>
        <p:grpSpPr>
          <a:xfrm>
            <a:off x="2880057" y="3132271"/>
            <a:ext cx="6693030" cy="775333"/>
            <a:chOff x="2880057" y="3132271"/>
            <a:chExt cx="6693030" cy="775333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99DFDE5-FBCD-FCEA-586A-217E91FFDAC6}"/>
                </a:ext>
              </a:extLst>
            </p:cNvPr>
            <p:cNvSpPr/>
            <p:nvPr/>
          </p:nvSpPr>
          <p:spPr>
            <a:xfrm>
              <a:off x="2880057" y="3132273"/>
              <a:ext cx="6455039" cy="775331"/>
            </a:xfrm>
            <a:prstGeom prst="rect">
              <a:avLst/>
            </a:prstGeom>
            <a:solidFill>
              <a:srgbClr val="41547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Data Encryption Policy Key</a:t>
              </a:r>
              <a:br>
                <a:rPr lang="en-US" dirty="0"/>
              </a:br>
              <a:r>
                <a:rPr lang="en-US" i="1" dirty="0"/>
                <a:t>Based on root keys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5EB3A91-82F0-6C7C-6E43-AE313F0AE8CE}"/>
                </a:ext>
              </a:extLst>
            </p:cNvPr>
            <p:cNvSpPr/>
            <p:nvPr/>
          </p:nvSpPr>
          <p:spPr>
            <a:xfrm rot="16200000">
              <a:off x="9060636" y="3395151"/>
              <a:ext cx="775331" cy="24957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AES 256</a:t>
              </a:r>
            </a:p>
          </p:txBody>
        </p:sp>
      </p:grpSp>
      <p:grpSp>
        <p:nvGrpSpPr>
          <p:cNvPr id="15" name="MBX Key">
            <a:extLst>
              <a:ext uri="{FF2B5EF4-FFF2-40B4-BE49-F238E27FC236}">
                <a16:creationId xmlns:a16="http://schemas.microsoft.com/office/drawing/2014/main" id="{C1776F34-D8F7-029C-604A-E9AA126E2A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868479" y="4471539"/>
            <a:ext cx="6704610" cy="775333"/>
            <a:chOff x="2868479" y="4471539"/>
            <a:chExt cx="6704610" cy="775333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0E0FD90-5817-8DB9-B922-14FD6A8D2274}"/>
                </a:ext>
              </a:extLst>
            </p:cNvPr>
            <p:cNvSpPr/>
            <p:nvPr/>
          </p:nvSpPr>
          <p:spPr>
            <a:xfrm>
              <a:off x="2868479" y="4471541"/>
              <a:ext cx="6455039" cy="775331"/>
            </a:xfrm>
            <a:prstGeom prst="rect">
              <a:avLst/>
            </a:prstGeom>
            <a:solidFill>
              <a:srgbClr val="41547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Mailbox Key</a:t>
              </a:r>
            </a:p>
            <a:p>
              <a:pPr algn="ctr"/>
              <a:r>
                <a:rPr lang="en-US" i="1" dirty="0"/>
                <a:t>Based on Data Encryption Policy key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646731D-0401-18A4-A535-BF98430F83FB}"/>
                </a:ext>
              </a:extLst>
            </p:cNvPr>
            <p:cNvSpPr/>
            <p:nvPr/>
          </p:nvSpPr>
          <p:spPr>
            <a:xfrm rot="16200000">
              <a:off x="9060638" y="4734420"/>
              <a:ext cx="775331" cy="249570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AES 256</a:t>
              </a:r>
            </a:p>
          </p:txBody>
        </p:sp>
      </p:grpSp>
      <p:sp>
        <p:nvSpPr>
          <p:cNvPr id="18" name="Pfeil: nach rechts 17" descr="Arrow pointing from Mailbox Key to Mailbox">
            <a:extLst>
              <a:ext uri="{FF2B5EF4-FFF2-40B4-BE49-F238E27FC236}">
                <a16:creationId xmlns:a16="http://schemas.microsoft.com/office/drawing/2014/main" id="{C527F8DB-987F-3C01-D588-C8B7192626A5}"/>
              </a:ext>
            </a:extLst>
          </p:cNvPr>
          <p:cNvSpPr/>
          <p:nvPr/>
        </p:nvSpPr>
        <p:spPr>
          <a:xfrm rot="5400000">
            <a:off x="5788888" y="5392346"/>
            <a:ext cx="614218" cy="323273"/>
          </a:xfrm>
          <a:prstGeom prst="rightArrow">
            <a:avLst/>
          </a:prstGeom>
          <a:solidFill>
            <a:srgbClr val="59E6FD"/>
          </a:solidFill>
          <a:ln>
            <a:solidFill>
              <a:srgbClr val="41547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Pfeil: nach rechts 18" descr="Arrow pointing from Data Encryption Policy Key to Mailbox Key">
            <a:extLst>
              <a:ext uri="{FF2B5EF4-FFF2-40B4-BE49-F238E27FC236}">
                <a16:creationId xmlns:a16="http://schemas.microsoft.com/office/drawing/2014/main" id="{69DD4AD5-75A7-378B-7A1C-C7EE1BF52901}"/>
              </a:ext>
            </a:extLst>
          </p:cNvPr>
          <p:cNvSpPr/>
          <p:nvPr/>
        </p:nvSpPr>
        <p:spPr>
          <a:xfrm rot="5400000">
            <a:off x="5788886" y="4052570"/>
            <a:ext cx="614218" cy="323273"/>
          </a:xfrm>
          <a:prstGeom prst="rightArrow">
            <a:avLst/>
          </a:prstGeom>
          <a:solidFill>
            <a:srgbClr val="59E6FD"/>
          </a:solidFill>
          <a:ln>
            <a:solidFill>
              <a:srgbClr val="41547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oot-Keys" descr="Frame surrounding Customer Key and Availability BOx, labelled Root Keys">
            <a:extLst>
              <a:ext uri="{FF2B5EF4-FFF2-40B4-BE49-F238E27FC236}">
                <a16:creationId xmlns:a16="http://schemas.microsoft.com/office/drawing/2014/main" id="{088A6A32-853B-24DD-34FC-9B6E69AB040C}"/>
              </a:ext>
            </a:extLst>
          </p:cNvPr>
          <p:cNvSpPr/>
          <p:nvPr/>
        </p:nvSpPr>
        <p:spPr>
          <a:xfrm>
            <a:off x="1122218" y="1588655"/>
            <a:ext cx="8719128" cy="114992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oot Keys</a:t>
            </a:r>
          </a:p>
        </p:txBody>
      </p:sp>
      <p:sp>
        <p:nvSpPr>
          <p:cNvPr id="21" name="Pfeil: nach rechts 20" descr="Arrow pointing from Customer Keys to Data Encryption Policy Key">
            <a:extLst>
              <a:ext uri="{FF2B5EF4-FFF2-40B4-BE49-F238E27FC236}">
                <a16:creationId xmlns:a16="http://schemas.microsoft.com/office/drawing/2014/main" id="{DD6CF6DA-4B35-DC16-F01A-7DB099F85F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 rot="5400000">
            <a:off x="3976352" y="2719580"/>
            <a:ext cx="614218" cy="323273"/>
          </a:xfrm>
          <a:prstGeom prst="rightArrow">
            <a:avLst/>
          </a:prstGeom>
          <a:solidFill>
            <a:srgbClr val="59E6FD"/>
          </a:solidFill>
          <a:ln>
            <a:solidFill>
              <a:srgbClr val="41547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feil: nach rechts 21" descr="Arrow pointing from Availability Key to Data Encryption Policy Key">
            <a:extLst>
              <a:ext uri="{FF2B5EF4-FFF2-40B4-BE49-F238E27FC236}">
                <a16:creationId xmlns:a16="http://schemas.microsoft.com/office/drawing/2014/main" id="{FED91C2C-91E6-614F-577B-8C3D95BDF6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 rot="5400000">
            <a:off x="7613002" y="2709825"/>
            <a:ext cx="614218" cy="323273"/>
          </a:xfrm>
          <a:prstGeom prst="rightArrow">
            <a:avLst/>
          </a:prstGeom>
          <a:solidFill>
            <a:srgbClr val="59E6FD"/>
          </a:solidFill>
          <a:ln>
            <a:solidFill>
              <a:srgbClr val="41547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449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55E47-6DDC-16C9-6413-8ADADBA3C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Point On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C3FDEC-540B-9360-C242-45D6A00FBA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cryption of existing files starts right after key assignment</a:t>
            </a:r>
          </a:p>
          <a:p>
            <a:r>
              <a:rPr lang="en-US" dirty="0"/>
              <a:t>Encrypt content with different keys per Geo-location</a:t>
            </a:r>
          </a:p>
        </p:txBody>
      </p:sp>
    </p:spTree>
    <p:extLst>
      <p:ext uri="{BB962C8B-B14F-4D97-AF65-F5344CB8AC3E}">
        <p14:creationId xmlns:p14="http://schemas.microsoft.com/office/powerpoint/2010/main" val="33870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CA82926-F348-279C-8487-8F7851B80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Point Online</a:t>
            </a:r>
          </a:p>
        </p:txBody>
      </p:sp>
      <p:sp>
        <p:nvSpPr>
          <p:cNvPr id="5" name="Flussdiagramm: Magnetplattenspeicher 4">
            <a:extLst>
              <a:ext uri="{FF2B5EF4-FFF2-40B4-BE49-F238E27FC236}">
                <a16:creationId xmlns:a16="http://schemas.microsoft.com/office/drawing/2014/main" id="{F55D56BE-44FD-DE4A-DE6A-F8A24752A820}"/>
              </a:ext>
            </a:extLst>
          </p:cNvPr>
          <p:cNvSpPr/>
          <p:nvPr/>
        </p:nvSpPr>
        <p:spPr>
          <a:xfrm>
            <a:off x="5061795" y="6232473"/>
            <a:ext cx="2068409" cy="612648"/>
          </a:xfrm>
          <a:prstGeom prst="flowChartMagneticDisk">
            <a:avLst/>
          </a:prstGeom>
          <a:solidFill>
            <a:srgbClr val="253B5D"/>
          </a:solidFill>
          <a:ln>
            <a:solidFill>
              <a:srgbClr val="41547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Data </a:t>
            </a:r>
            <a:r>
              <a:rPr lang="de-DE" b="1" dirty="0">
                <a:solidFill>
                  <a:schemeClr val="bg1"/>
                </a:solidFill>
              </a:rPr>
              <a:t>Chunks</a:t>
            </a:r>
          </a:p>
        </p:txBody>
      </p:sp>
      <p:grpSp>
        <p:nvGrpSpPr>
          <p:cNvPr id="6" name="Customer Key">
            <a:extLst>
              <a:ext uri="{FF2B5EF4-FFF2-40B4-BE49-F238E27FC236}">
                <a16:creationId xmlns:a16="http://schemas.microsoft.com/office/drawing/2014/main" id="{A254E904-749C-72D1-A743-9BAF874023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42066" y="1784115"/>
            <a:ext cx="3044802" cy="777110"/>
            <a:chOff x="2642066" y="1796994"/>
            <a:chExt cx="3044802" cy="777110"/>
          </a:xfrm>
        </p:grpSpPr>
        <p:sp>
          <p:nvSpPr>
            <p:cNvPr id="7" name="Rechteck 6" descr="A box explaning the customer key object as part of the root key pair with RSA encryption">
              <a:extLst>
                <a:ext uri="{FF2B5EF4-FFF2-40B4-BE49-F238E27FC236}">
                  <a16:creationId xmlns:a16="http://schemas.microsoft.com/office/drawing/2014/main" id="{07C9DCED-D133-DC7F-BBC0-1465C075BB26}"/>
                </a:ext>
              </a:extLst>
            </p:cNvPr>
            <p:cNvSpPr/>
            <p:nvPr/>
          </p:nvSpPr>
          <p:spPr>
            <a:xfrm>
              <a:off x="2880057" y="1798773"/>
              <a:ext cx="2806811" cy="775331"/>
            </a:xfrm>
            <a:prstGeom prst="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2 Customer Keys</a:t>
              </a:r>
              <a:br>
                <a:rPr lang="de-DE" dirty="0"/>
              </a:br>
              <a:r>
                <a:rPr lang="de-DE" i="1" dirty="0"/>
                <a:t>Azure Key </a:t>
              </a:r>
              <a:r>
                <a:rPr lang="de-DE" i="1" dirty="0" err="1"/>
                <a:t>Vault</a:t>
              </a:r>
              <a:endParaRPr lang="de-DE" i="1" dirty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024BA648-A50A-0E07-3793-A6A5F4C996A6}"/>
                </a:ext>
              </a:extLst>
            </p:cNvPr>
            <p:cNvSpPr/>
            <p:nvPr/>
          </p:nvSpPr>
          <p:spPr>
            <a:xfrm rot="16200000">
              <a:off x="2377385" y="2061675"/>
              <a:ext cx="767354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/>
                <a:t>RSA</a:t>
              </a:r>
            </a:p>
          </p:txBody>
        </p:sp>
      </p:grpSp>
      <p:grpSp>
        <p:nvGrpSpPr>
          <p:cNvPr id="9" name="Availability Key" descr="A box explaning the Office 365 Availability key object as part of the root key pair ith AES256 encryption.">
            <a:extLst>
              <a:ext uri="{FF2B5EF4-FFF2-40B4-BE49-F238E27FC236}">
                <a16:creationId xmlns:a16="http://schemas.microsoft.com/office/drawing/2014/main" id="{564DFE03-E41C-E65D-C5AB-32930A1368B1}"/>
              </a:ext>
            </a:extLst>
          </p:cNvPr>
          <p:cNvGrpSpPr/>
          <p:nvPr/>
        </p:nvGrpSpPr>
        <p:grpSpPr>
          <a:xfrm>
            <a:off x="6516707" y="1777340"/>
            <a:ext cx="3042732" cy="775331"/>
            <a:chOff x="6516707" y="1790219"/>
            <a:chExt cx="3042732" cy="775331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F25D283-B55B-FA5A-98EC-82A13D3DB58E}"/>
                </a:ext>
              </a:extLst>
            </p:cNvPr>
            <p:cNvSpPr/>
            <p:nvPr/>
          </p:nvSpPr>
          <p:spPr>
            <a:xfrm>
              <a:off x="6516707" y="1790219"/>
              <a:ext cx="2806811" cy="775331"/>
            </a:xfrm>
            <a:prstGeom prst="rect">
              <a:avLst/>
            </a:prstGeom>
            <a:solidFill>
              <a:srgbClr val="28A8EA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Availability Key</a:t>
              </a:r>
              <a:br>
                <a:rPr lang="de-DE" dirty="0"/>
              </a:br>
              <a:r>
                <a:rPr lang="de-DE" i="1" dirty="0"/>
                <a:t>Office 365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C206E6E-D13C-D6BE-12D2-4454448D65C8}"/>
                </a:ext>
              </a:extLst>
            </p:cNvPr>
            <p:cNvSpPr/>
            <p:nvPr/>
          </p:nvSpPr>
          <p:spPr>
            <a:xfrm rot="16200000">
              <a:off x="9056766" y="2054901"/>
              <a:ext cx="767355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/>
                <a:t>AES</a:t>
              </a:r>
              <a:r>
                <a:rPr lang="de-DE" sz="1000" b="1" dirty="0"/>
                <a:t> 256</a:t>
              </a:r>
            </a:p>
          </p:txBody>
        </p:sp>
      </p:grpSp>
      <p:sp>
        <p:nvSpPr>
          <p:cNvPr id="12" name="Root-Keys" descr="Frame surrounding Customer Key and Availability BOx, labelled Root Keys">
            <a:extLst>
              <a:ext uri="{FF2B5EF4-FFF2-40B4-BE49-F238E27FC236}">
                <a16:creationId xmlns:a16="http://schemas.microsoft.com/office/drawing/2014/main" id="{01BEBBF4-01B7-96E5-8FA1-E3E51F292BC5}"/>
              </a:ext>
            </a:extLst>
          </p:cNvPr>
          <p:cNvSpPr/>
          <p:nvPr/>
        </p:nvSpPr>
        <p:spPr>
          <a:xfrm>
            <a:off x="1122218" y="1575776"/>
            <a:ext cx="8719128" cy="114992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</a:rPr>
              <a:t>Root Keys</a:t>
            </a:r>
          </a:p>
        </p:txBody>
      </p:sp>
      <p:sp>
        <p:nvSpPr>
          <p:cNvPr id="13" name="Root-Keys">
            <a:extLst>
              <a:ext uri="{FF2B5EF4-FFF2-40B4-BE49-F238E27FC236}">
                <a16:creationId xmlns:a16="http://schemas.microsoft.com/office/drawing/2014/main" id="{91AA35E4-7B17-6D32-6851-E7C0DEF11789}"/>
              </a:ext>
            </a:extLst>
          </p:cNvPr>
          <p:cNvSpPr/>
          <p:nvPr/>
        </p:nvSpPr>
        <p:spPr>
          <a:xfrm>
            <a:off x="1071417" y="4985723"/>
            <a:ext cx="8806873" cy="102350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pt-BR" dirty="0">
                <a:solidFill>
                  <a:schemeClr val="tx1"/>
                </a:solidFill>
              </a:rPr>
              <a:t>1 File </a:t>
            </a:r>
            <a:br>
              <a:rPr lang="pt-BR" dirty="0">
                <a:solidFill>
                  <a:schemeClr val="tx1"/>
                </a:solidFill>
              </a:rPr>
            </a:br>
            <a:r>
              <a:rPr lang="pt-BR" dirty="0">
                <a:solidFill>
                  <a:schemeClr val="tx1"/>
                </a:solidFill>
              </a:rPr>
              <a:t>= N Chunks </a:t>
            </a:r>
            <a:br>
              <a:rPr lang="pt-BR" dirty="0">
                <a:solidFill>
                  <a:schemeClr val="tx1"/>
                </a:solidFill>
              </a:rPr>
            </a:br>
            <a:r>
              <a:rPr lang="pt-BR" dirty="0">
                <a:solidFill>
                  <a:schemeClr val="tx1"/>
                </a:solidFill>
              </a:rPr>
              <a:t>= N Keys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14" name="Gruppieren 13" descr="A box representing the File Chunk Encryptionkey, based on Site Encrpytion key">
            <a:extLst>
              <a:ext uri="{FF2B5EF4-FFF2-40B4-BE49-F238E27FC236}">
                <a16:creationId xmlns:a16="http://schemas.microsoft.com/office/drawing/2014/main" id="{535C01D4-15E0-4B0D-1605-6C0C58338C3F}"/>
              </a:ext>
            </a:extLst>
          </p:cNvPr>
          <p:cNvGrpSpPr/>
          <p:nvPr/>
        </p:nvGrpSpPr>
        <p:grpSpPr>
          <a:xfrm>
            <a:off x="2880056" y="5163994"/>
            <a:ext cx="6693030" cy="673252"/>
            <a:chOff x="2880056" y="5176873"/>
            <a:chExt cx="6693030" cy="67325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E0E81CE-9800-EB83-5D14-0AEBD4D14529}"/>
                </a:ext>
              </a:extLst>
            </p:cNvPr>
            <p:cNvSpPr/>
            <p:nvPr/>
          </p:nvSpPr>
          <p:spPr>
            <a:xfrm rot="16200000">
              <a:off x="9119015" y="5396053"/>
              <a:ext cx="670152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/>
                <a:t>AES 256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D3FC248-5E97-9CDE-3BB6-2F2730D7E3B7}"/>
                </a:ext>
              </a:extLst>
            </p:cNvPr>
            <p:cNvSpPr/>
            <p:nvPr/>
          </p:nvSpPr>
          <p:spPr>
            <a:xfrm>
              <a:off x="2880056" y="5176873"/>
              <a:ext cx="6455039" cy="673252"/>
            </a:xfrm>
            <a:prstGeom prst="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File Chunk </a:t>
              </a:r>
              <a:r>
                <a:rPr lang="de-DE" b="1" dirty="0" err="1"/>
                <a:t>Encrpytion</a:t>
              </a:r>
              <a:r>
                <a:rPr lang="de-DE" b="1" dirty="0"/>
                <a:t> Key</a:t>
              </a:r>
            </a:p>
            <a:p>
              <a:pPr algn="ctr"/>
              <a:r>
                <a:rPr lang="de-DE" i="1" dirty="0" err="1"/>
                <a:t>Based</a:t>
              </a:r>
              <a:r>
                <a:rPr lang="de-DE" i="1" dirty="0"/>
                <a:t> on Site Encryption Key</a:t>
              </a:r>
            </a:p>
          </p:txBody>
        </p:sp>
      </p:grpSp>
      <p:grpSp>
        <p:nvGrpSpPr>
          <p:cNvPr id="17" name="Gruppieren 16" descr="A box representing the Site Encryption key, based on Tenant intermediate key">
            <a:extLst>
              <a:ext uri="{FF2B5EF4-FFF2-40B4-BE49-F238E27FC236}">
                <a16:creationId xmlns:a16="http://schemas.microsoft.com/office/drawing/2014/main" id="{224AD549-5AF5-4717-6446-F71304D83834}"/>
              </a:ext>
            </a:extLst>
          </p:cNvPr>
          <p:cNvGrpSpPr/>
          <p:nvPr/>
        </p:nvGrpSpPr>
        <p:grpSpPr>
          <a:xfrm>
            <a:off x="2880056" y="4064979"/>
            <a:ext cx="6692565" cy="673253"/>
            <a:chOff x="2880057" y="4078759"/>
            <a:chExt cx="6692565" cy="673253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7012495-C6ED-55FD-5480-7B22E1C9DD19}"/>
                </a:ext>
              </a:extLst>
            </p:cNvPr>
            <p:cNvSpPr/>
            <p:nvPr/>
          </p:nvSpPr>
          <p:spPr>
            <a:xfrm>
              <a:off x="2880057" y="4078760"/>
              <a:ext cx="6455039" cy="673252"/>
            </a:xfrm>
            <a:prstGeom prst="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Site Encryption Key</a:t>
              </a:r>
              <a:br>
                <a:rPr lang="de-DE" dirty="0"/>
              </a:br>
              <a:r>
                <a:rPr lang="de-DE" i="1" dirty="0" err="1"/>
                <a:t>Based</a:t>
              </a:r>
              <a:r>
                <a:rPr lang="de-DE" i="1" dirty="0"/>
                <a:t> on Tenant Intermediate Key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5536C52-B035-8E62-38CC-2F817FFB2424}"/>
                </a:ext>
              </a:extLst>
            </p:cNvPr>
            <p:cNvSpPr/>
            <p:nvPr/>
          </p:nvSpPr>
          <p:spPr>
            <a:xfrm rot="16200000">
              <a:off x="9117000" y="4296390"/>
              <a:ext cx="673253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/>
                <a:t>AES 256</a:t>
              </a:r>
            </a:p>
          </p:txBody>
        </p:sp>
      </p:grpSp>
      <p:grpSp>
        <p:nvGrpSpPr>
          <p:cNvPr id="20" name="Gruppieren 19" descr="A box representing the Tenant intermediate key, based on customer key and Availability key">
            <a:extLst>
              <a:ext uri="{FF2B5EF4-FFF2-40B4-BE49-F238E27FC236}">
                <a16:creationId xmlns:a16="http://schemas.microsoft.com/office/drawing/2014/main" id="{CA308795-70DE-EEEA-A142-B7ECAD7BC630}"/>
              </a:ext>
            </a:extLst>
          </p:cNvPr>
          <p:cNvGrpSpPr/>
          <p:nvPr/>
        </p:nvGrpSpPr>
        <p:grpSpPr>
          <a:xfrm>
            <a:off x="2880057" y="2966867"/>
            <a:ext cx="6692566" cy="674153"/>
            <a:chOff x="2880057" y="2979746"/>
            <a:chExt cx="6692566" cy="674153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80FB140-E28A-F7A0-0A69-45296A3E4F1F}"/>
                </a:ext>
              </a:extLst>
            </p:cNvPr>
            <p:cNvSpPr/>
            <p:nvPr/>
          </p:nvSpPr>
          <p:spPr>
            <a:xfrm>
              <a:off x="2880057" y="2980647"/>
              <a:ext cx="6455039" cy="673252"/>
            </a:xfrm>
            <a:prstGeom prst="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Tenant Intermediate Key</a:t>
              </a:r>
              <a:br>
                <a:rPr lang="de-DE" dirty="0"/>
              </a:br>
              <a:r>
                <a:rPr lang="de-DE" i="1" dirty="0" err="1"/>
                <a:t>Based</a:t>
              </a:r>
              <a:r>
                <a:rPr lang="de-DE" i="1" dirty="0"/>
                <a:t> on Root-Keys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8D7891B-1D19-4ED4-B21A-1454CF04A564}"/>
                </a:ext>
              </a:extLst>
            </p:cNvPr>
            <p:cNvSpPr/>
            <p:nvPr/>
          </p:nvSpPr>
          <p:spPr>
            <a:xfrm rot="16200000">
              <a:off x="9117001" y="3197377"/>
              <a:ext cx="673253" cy="237991"/>
            </a:xfrm>
            <a:prstGeom prst="rect">
              <a:avLst/>
            </a:prstGeom>
            <a:solidFill>
              <a:srgbClr val="137BD1">
                <a:alpha val="5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b="1" dirty="0"/>
                <a:t>AES 256</a:t>
              </a:r>
            </a:p>
          </p:txBody>
        </p:sp>
      </p:grpSp>
      <p:sp>
        <p:nvSpPr>
          <p:cNvPr id="23" name="Pfeil: nach rechts 22" descr="Arrow pointing from Customer Keys to Tenant Intermediate Key">
            <a:extLst>
              <a:ext uri="{FF2B5EF4-FFF2-40B4-BE49-F238E27FC236}">
                <a16:creationId xmlns:a16="http://schemas.microsoft.com/office/drawing/2014/main" id="{5B61D582-8FC9-25DA-DB64-DDD0BFDF11A2}"/>
              </a:ext>
            </a:extLst>
          </p:cNvPr>
          <p:cNvSpPr/>
          <p:nvPr/>
        </p:nvSpPr>
        <p:spPr>
          <a:xfrm rot="5400000">
            <a:off x="4058058" y="2635434"/>
            <a:ext cx="450807" cy="302394"/>
          </a:xfrm>
          <a:prstGeom prst="rightArrow">
            <a:avLst/>
          </a:prstGeom>
          <a:solidFill>
            <a:srgbClr val="59E6FD"/>
          </a:solidFill>
          <a:ln>
            <a:solidFill>
              <a:srgbClr val="253B5D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Pfeil: nach rechts 23" descr="Arrow pointing from Availability Key to Tenant Intermediate Key">
            <a:extLst>
              <a:ext uri="{FF2B5EF4-FFF2-40B4-BE49-F238E27FC236}">
                <a16:creationId xmlns:a16="http://schemas.microsoft.com/office/drawing/2014/main" id="{288108C1-F94D-6AC2-0E27-3E82B07D4429}"/>
              </a:ext>
            </a:extLst>
          </p:cNvPr>
          <p:cNvSpPr/>
          <p:nvPr/>
        </p:nvSpPr>
        <p:spPr>
          <a:xfrm rot="5400000">
            <a:off x="7694709" y="2623262"/>
            <a:ext cx="450807" cy="302394"/>
          </a:xfrm>
          <a:prstGeom prst="rightArrow">
            <a:avLst/>
          </a:prstGeom>
          <a:solidFill>
            <a:srgbClr val="59E6FD"/>
          </a:solidFill>
          <a:ln>
            <a:solidFill>
              <a:srgbClr val="253B5D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Pfeil: nach rechts 24" descr="Arrow pointing from Tenant Intermediate Key to Site Encryption Key">
            <a:extLst>
              <a:ext uri="{FF2B5EF4-FFF2-40B4-BE49-F238E27FC236}">
                <a16:creationId xmlns:a16="http://schemas.microsoft.com/office/drawing/2014/main" id="{09913EF0-7375-CC2D-FDE5-FD6EABECA1E3}"/>
              </a:ext>
            </a:extLst>
          </p:cNvPr>
          <p:cNvSpPr/>
          <p:nvPr/>
        </p:nvSpPr>
        <p:spPr>
          <a:xfrm rot="5400000">
            <a:off x="5870595" y="3710919"/>
            <a:ext cx="450807" cy="302394"/>
          </a:xfrm>
          <a:prstGeom prst="rightArrow">
            <a:avLst/>
          </a:prstGeom>
          <a:solidFill>
            <a:srgbClr val="59E6FD"/>
          </a:solidFill>
          <a:ln>
            <a:solidFill>
              <a:srgbClr val="253B5D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Pfeil: nach rechts 25" descr="Arrow pointing from Site Encryption Key to File Chunk Encryption Key">
            <a:extLst>
              <a:ext uri="{FF2B5EF4-FFF2-40B4-BE49-F238E27FC236}">
                <a16:creationId xmlns:a16="http://schemas.microsoft.com/office/drawing/2014/main" id="{8DE7E59E-8D65-F2EB-B639-ED0290EDA074}"/>
              </a:ext>
            </a:extLst>
          </p:cNvPr>
          <p:cNvSpPr/>
          <p:nvPr/>
        </p:nvSpPr>
        <p:spPr>
          <a:xfrm rot="5400000">
            <a:off x="5882171" y="4807055"/>
            <a:ext cx="450807" cy="302394"/>
          </a:xfrm>
          <a:prstGeom prst="rightArrow">
            <a:avLst/>
          </a:prstGeom>
          <a:solidFill>
            <a:srgbClr val="59E6FD"/>
          </a:solidFill>
          <a:ln>
            <a:solidFill>
              <a:srgbClr val="253B5D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Pfeil: nach rechts 26" descr="Arrow pointing from File Chunk Encryption Key to Data Chunks">
            <a:extLst>
              <a:ext uri="{FF2B5EF4-FFF2-40B4-BE49-F238E27FC236}">
                <a16:creationId xmlns:a16="http://schemas.microsoft.com/office/drawing/2014/main" id="{ADCF9F0E-E8DA-6C75-DB78-B97E67E651EF}"/>
              </a:ext>
            </a:extLst>
          </p:cNvPr>
          <p:cNvSpPr/>
          <p:nvPr/>
        </p:nvSpPr>
        <p:spPr>
          <a:xfrm rot="5400000">
            <a:off x="5867181" y="5908518"/>
            <a:ext cx="450807" cy="302394"/>
          </a:xfrm>
          <a:prstGeom prst="rightArrow">
            <a:avLst/>
          </a:prstGeom>
          <a:solidFill>
            <a:srgbClr val="59E6FD"/>
          </a:solidFill>
          <a:ln>
            <a:solidFill>
              <a:srgbClr val="253B5D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40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3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3126358-D0BC-EC27-4954-398BA5DFD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4A1C355-ED0A-966B-DB01-A167FDD0E6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ss of customer keys can be mitigated by Microsoft Support</a:t>
            </a:r>
          </a:p>
          <a:p>
            <a:pPr lvl="1"/>
            <a:r>
              <a:rPr lang="en-US" dirty="0"/>
              <a:t>Availability key-based decryption </a:t>
            </a:r>
          </a:p>
          <a:p>
            <a:pPr lvl="1"/>
            <a:r>
              <a:rPr lang="en-US" dirty="0"/>
              <a:t>Reassigning a new DEP with new customer keys</a:t>
            </a:r>
          </a:p>
          <a:p>
            <a:r>
              <a:rPr lang="en-US" dirty="0"/>
              <a:t>When </a:t>
            </a:r>
            <a:r>
              <a:rPr lang="en-US"/>
              <a:t>offboarding from the </a:t>
            </a:r>
            <a:r>
              <a:rPr lang="en-US" dirty="0"/>
              <a:t>service you can request the deletion of the Availability key</a:t>
            </a:r>
          </a:p>
          <a:p>
            <a:pPr lvl="1"/>
            <a:r>
              <a:rPr lang="en-US" dirty="0"/>
              <a:t>Data cannot be decrypted, but only deleted</a:t>
            </a:r>
          </a:p>
        </p:txBody>
      </p:sp>
    </p:spTree>
    <p:extLst>
      <p:ext uri="{BB962C8B-B14F-4D97-AF65-F5344CB8AC3E}">
        <p14:creationId xmlns:p14="http://schemas.microsoft.com/office/powerpoint/2010/main" val="2753572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BD4A6B4-6368-C2DB-40F8-1759652DE9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Implementation 10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915B47D-7832-D55B-8B70-7951123E3A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mplementing Purview Customer Key</a:t>
            </a:r>
          </a:p>
        </p:txBody>
      </p:sp>
    </p:spTree>
    <p:extLst>
      <p:ext uri="{BB962C8B-B14F-4D97-AF65-F5344CB8AC3E}">
        <p14:creationId xmlns:p14="http://schemas.microsoft.com/office/powerpoint/2010/main" val="27958291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3126358-D0BC-EC27-4954-398BA5DFD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are for FastTrac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4A1C355-ED0A-966B-DB01-A167FDD0E6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Azure key vaults in two Azure subscriptions</a:t>
            </a:r>
          </a:p>
          <a:p>
            <a:r>
              <a:rPr lang="en-US" dirty="0"/>
              <a:t>One key vault with one key per workload to encryp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473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39C8F2-B5CF-961F-5E5B-F8C097599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are for FastTrack</a:t>
            </a:r>
          </a:p>
        </p:txBody>
      </p:sp>
      <p:sp>
        <p:nvSpPr>
          <p:cNvPr id="4" name="Azure Subscriptions" descr="A box labelled Azure Subscriptions containg two boxes named Subscription A and B">
            <a:extLst>
              <a:ext uri="{FF2B5EF4-FFF2-40B4-BE49-F238E27FC236}">
                <a16:creationId xmlns:a16="http://schemas.microsoft.com/office/drawing/2014/main" id="{A7589A5E-8288-674F-13A7-B25DCE54EA4E}"/>
              </a:ext>
            </a:extLst>
          </p:cNvPr>
          <p:cNvSpPr/>
          <p:nvPr/>
        </p:nvSpPr>
        <p:spPr>
          <a:xfrm>
            <a:off x="669849" y="2570856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dirty="0"/>
              <a:t>Azure Subscriptions</a:t>
            </a:r>
          </a:p>
        </p:txBody>
      </p:sp>
      <p:sp>
        <p:nvSpPr>
          <p:cNvPr id="5" name="Key Vaults" descr="A box labelled Key Vaults containg six boxes for six key vaults, three key vaults per subscription">
            <a:extLst>
              <a:ext uri="{FF2B5EF4-FFF2-40B4-BE49-F238E27FC236}">
                <a16:creationId xmlns:a16="http://schemas.microsoft.com/office/drawing/2014/main" id="{38A7EBDA-978C-0717-C98B-3F62C1F769E4}"/>
              </a:ext>
            </a:extLst>
          </p:cNvPr>
          <p:cNvSpPr/>
          <p:nvPr/>
        </p:nvSpPr>
        <p:spPr>
          <a:xfrm>
            <a:off x="669849" y="3783050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b="1" dirty="0"/>
              <a:t>Key </a:t>
            </a:r>
            <a:r>
              <a:rPr lang="de-DE" b="1" dirty="0" err="1"/>
              <a:t>Vaults</a:t>
            </a:r>
            <a:endParaRPr lang="de-DE" b="1" dirty="0"/>
          </a:p>
        </p:txBody>
      </p:sp>
      <p:sp>
        <p:nvSpPr>
          <p:cNvPr id="6" name="Keys" descr="A box labelled Keys containg six boxes for six keys, one key per key vault">
            <a:extLst>
              <a:ext uri="{FF2B5EF4-FFF2-40B4-BE49-F238E27FC236}">
                <a16:creationId xmlns:a16="http://schemas.microsoft.com/office/drawing/2014/main" id="{64CF4947-9331-5789-B073-10FB2353BA82}"/>
              </a:ext>
            </a:extLst>
          </p:cNvPr>
          <p:cNvSpPr/>
          <p:nvPr/>
        </p:nvSpPr>
        <p:spPr>
          <a:xfrm>
            <a:off x="669849" y="4995244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b="1" dirty="0"/>
              <a:t>Keys</a:t>
            </a:r>
          </a:p>
        </p:txBody>
      </p:sp>
      <p:sp>
        <p:nvSpPr>
          <p:cNvPr id="7" name="Subscription B" descr="A box representing subscription B">
            <a:extLst>
              <a:ext uri="{FF2B5EF4-FFF2-40B4-BE49-F238E27FC236}">
                <a16:creationId xmlns:a16="http://schemas.microsoft.com/office/drawing/2014/main" id="{A8A2BCA1-7E0F-862E-65C0-E07E7CDC6896}"/>
              </a:ext>
            </a:extLst>
          </p:cNvPr>
          <p:cNvSpPr/>
          <p:nvPr/>
        </p:nvSpPr>
        <p:spPr>
          <a:xfrm>
            <a:off x="7434980" y="2822625"/>
            <a:ext cx="3657003" cy="504708"/>
          </a:xfrm>
          <a:prstGeom prst="round2SameRect">
            <a:avLst/>
          </a:prstGeom>
          <a:solidFill>
            <a:srgbClr val="00386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Subscription</a:t>
            </a:r>
            <a:r>
              <a:rPr lang="de-DE" b="1" dirty="0"/>
              <a:t> B</a:t>
            </a:r>
          </a:p>
        </p:txBody>
      </p:sp>
      <p:sp>
        <p:nvSpPr>
          <p:cNvPr id="8" name="Subscription A" descr="A box representing subscription A">
            <a:extLst>
              <a:ext uri="{FF2B5EF4-FFF2-40B4-BE49-F238E27FC236}">
                <a16:creationId xmlns:a16="http://schemas.microsoft.com/office/drawing/2014/main" id="{264C2B0D-CCD9-F09B-5234-BA0D6F0B6E1E}"/>
              </a:ext>
            </a:extLst>
          </p:cNvPr>
          <p:cNvSpPr/>
          <p:nvPr/>
        </p:nvSpPr>
        <p:spPr>
          <a:xfrm>
            <a:off x="3171031" y="2822625"/>
            <a:ext cx="3645731" cy="504708"/>
          </a:xfrm>
          <a:prstGeom prst="round2SameRect">
            <a:avLst/>
          </a:prstGeom>
          <a:solidFill>
            <a:srgbClr val="00386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Subscription</a:t>
            </a:r>
            <a:r>
              <a:rPr lang="de-DE" b="1" dirty="0"/>
              <a:t> A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CD44F3F-1657-41CF-AA79-BC566E37DF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endCxn id="34" idx="3"/>
          </p:cNvCxnSpPr>
          <p:nvPr/>
        </p:nvCxnSpPr>
        <p:spPr>
          <a:xfrm>
            <a:off x="3685981" y="3327333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E874400-27B6-48CD-EBA5-2F4366979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991971" y="3332607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93B547A3-7B29-287E-5EA8-4C2E72ED1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276306" y="3332607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616AAE4-8D40-5EC3-DFDF-91A70F0F8B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4" idx="1"/>
            <a:endCxn id="28" idx="3"/>
          </p:cNvCxnSpPr>
          <p:nvPr/>
        </p:nvCxnSpPr>
        <p:spPr>
          <a:xfrm flipH="1">
            <a:off x="3685982" y="4551259"/>
            <a:ext cx="1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D320670-D81E-16D1-95BB-859EEFDF5C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7" idx="1"/>
            <a:endCxn id="22" idx="3"/>
          </p:cNvCxnSpPr>
          <p:nvPr/>
        </p:nvCxnSpPr>
        <p:spPr>
          <a:xfrm>
            <a:off x="4991973" y="4551259"/>
            <a:ext cx="2737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A894BB10-18E2-D10F-52F8-DE62024BA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6" idx="1"/>
            <a:endCxn id="49" idx="3"/>
          </p:cNvCxnSpPr>
          <p:nvPr/>
        </p:nvCxnSpPr>
        <p:spPr>
          <a:xfrm flipH="1">
            <a:off x="6297962" y="4551259"/>
            <a:ext cx="3849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7E97590-917A-1860-C55C-D4A6A39A75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3" idx="3"/>
          </p:cNvCxnSpPr>
          <p:nvPr/>
        </p:nvCxnSpPr>
        <p:spPr>
          <a:xfrm flipV="1">
            <a:off x="7957356" y="3327333"/>
            <a:ext cx="0" cy="70777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196827-6296-D4CE-3BF6-AA7CFA7FC3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0" idx="3"/>
            <a:endCxn id="7" idx="1"/>
          </p:cNvCxnSpPr>
          <p:nvPr/>
        </p:nvCxnSpPr>
        <p:spPr>
          <a:xfrm flipH="1" flipV="1">
            <a:off x="9263482" y="3327333"/>
            <a:ext cx="371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9B2827A-70DB-AF18-B5EC-F5CEEAD69E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52" idx="3"/>
          </p:cNvCxnSpPr>
          <p:nvPr/>
        </p:nvCxnSpPr>
        <p:spPr>
          <a:xfrm flipV="1">
            <a:off x="10577032" y="3327333"/>
            <a:ext cx="0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7560132-E5FE-255C-0FE9-1F169665DF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3" idx="1"/>
            <a:endCxn id="31" idx="3"/>
          </p:cNvCxnSpPr>
          <p:nvPr/>
        </p:nvCxnSpPr>
        <p:spPr>
          <a:xfrm flipH="1">
            <a:off x="7949932" y="4539819"/>
            <a:ext cx="7424" cy="70719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8979519-4DEB-D959-AFFF-CA0FB3CA0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0" idx="1"/>
            <a:endCxn id="25" idx="3"/>
          </p:cNvCxnSpPr>
          <p:nvPr/>
        </p:nvCxnSpPr>
        <p:spPr>
          <a:xfrm>
            <a:off x="9267194" y="4551259"/>
            <a:ext cx="0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1F45A4F-B9D8-4ECF-323F-4F3A96537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52" idx="1"/>
            <a:endCxn id="55" idx="3"/>
          </p:cNvCxnSpPr>
          <p:nvPr/>
        </p:nvCxnSpPr>
        <p:spPr>
          <a:xfrm flipH="1">
            <a:off x="10577031" y="4551259"/>
            <a:ext cx="1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21" name="KEY-EXO-A" descr="A box for EXO key in EXO key vault A">
            <a:extLst>
              <a:ext uri="{FF2B5EF4-FFF2-40B4-BE49-F238E27FC236}">
                <a16:creationId xmlns:a16="http://schemas.microsoft.com/office/drawing/2014/main" id="{C3E44671-DFA8-3A70-4B49-F474728808ED}"/>
              </a:ext>
            </a:extLst>
          </p:cNvPr>
          <p:cNvGrpSpPr/>
          <p:nvPr/>
        </p:nvGrpSpPr>
        <p:grpSpPr>
          <a:xfrm>
            <a:off x="4479758" y="4995244"/>
            <a:ext cx="1267375" cy="756477"/>
            <a:chOff x="4296714" y="5420251"/>
            <a:chExt cx="1267375" cy="756477"/>
          </a:xfrm>
        </p:grpSpPr>
        <p:sp>
          <p:nvSpPr>
            <p:cNvPr id="22" name="Rechteck: obere Ecken abgerundet 21">
              <a:extLst>
                <a:ext uri="{FF2B5EF4-FFF2-40B4-BE49-F238E27FC236}">
                  <a16:creationId xmlns:a16="http://schemas.microsoft.com/office/drawing/2014/main" id="{58B46947-06C7-1975-0469-721C9DA96430}"/>
                </a:ext>
              </a:extLst>
            </p:cNvPr>
            <p:cNvSpPr/>
            <p:nvPr/>
          </p:nvSpPr>
          <p:spPr>
            <a:xfrm>
              <a:off x="429671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EXO-A</a:t>
              </a: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AE3E6E1A-8676-1569-7247-9172BC660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4489" y="5420251"/>
              <a:ext cx="609600" cy="609600"/>
            </a:xfrm>
            <a:prstGeom prst="rect">
              <a:avLst/>
            </a:prstGeom>
          </p:spPr>
        </p:pic>
      </p:grpSp>
      <p:grpSp>
        <p:nvGrpSpPr>
          <p:cNvPr id="24" name="KEY-EXO-B" descr="A box for EXO key in EXO key vault B">
            <a:extLst>
              <a:ext uri="{FF2B5EF4-FFF2-40B4-BE49-F238E27FC236}">
                <a16:creationId xmlns:a16="http://schemas.microsoft.com/office/drawing/2014/main" id="{F67BC86E-BCC3-48AE-199E-52F7420F449D}"/>
              </a:ext>
            </a:extLst>
          </p:cNvPr>
          <p:cNvGrpSpPr/>
          <p:nvPr/>
        </p:nvGrpSpPr>
        <p:grpSpPr>
          <a:xfrm>
            <a:off x="8752242" y="4942213"/>
            <a:ext cx="1294976" cy="809508"/>
            <a:chOff x="8571936" y="5367220"/>
            <a:chExt cx="1294976" cy="809508"/>
          </a:xfrm>
        </p:grpSpPr>
        <p:sp>
          <p:nvSpPr>
            <p:cNvPr id="25" name="Rechteck: obere Ecken abgerundet 24">
              <a:extLst>
                <a:ext uri="{FF2B5EF4-FFF2-40B4-BE49-F238E27FC236}">
                  <a16:creationId xmlns:a16="http://schemas.microsoft.com/office/drawing/2014/main" id="{580A5C42-214C-57EE-0179-817FB5E81660}"/>
                </a:ext>
              </a:extLst>
            </p:cNvPr>
            <p:cNvSpPr/>
            <p:nvPr/>
          </p:nvSpPr>
          <p:spPr>
            <a:xfrm>
              <a:off x="8571936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EXO-B</a:t>
              </a:r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5421C61D-F08F-4A00-CB9A-821643975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7312" y="5367220"/>
              <a:ext cx="609600" cy="609600"/>
            </a:xfrm>
            <a:prstGeom prst="rect">
              <a:avLst/>
            </a:prstGeom>
          </p:spPr>
        </p:pic>
      </p:grpSp>
      <p:grpSp>
        <p:nvGrpSpPr>
          <p:cNvPr id="27" name="KEY-M365-A" descr="A box for M365 key in M365 key vault A">
            <a:extLst>
              <a:ext uri="{FF2B5EF4-FFF2-40B4-BE49-F238E27FC236}">
                <a16:creationId xmlns:a16="http://schemas.microsoft.com/office/drawing/2014/main" id="{963DA57C-C4CC-9014-C485-5578DEF9F1C9}"/>
              </a:ext>
            </a:extLst>
          </p:cNvPr>
          <p:cNvGrpSpPr/>
          <p:nvPr/>
        </p:nvGrpSpPr>
        <p:grpSpPr>
          <a:xfrm>
            <a:off x="3171030" y="4960768"/>
            <a:ext cx="1268659" cy="790953"/>
            <a:chOff x="2990724" y="5385775"/>
            <a:chExt cx="1268659" cy="790953"/>
          </a:xfrm>
        </p:grpSpPr>
        <p:sp>
          <p:nvSpPr>
            <p:cNvPr id="28" name="Rechteck: obere Ecken abgerundet 27">
              <a:extLst>
                <a:ext uri="{FF2B5EF4-FFF2-40B4-BE49-F238E27FC236}">
                  <a16:creationId xmlns:a16="http://schemas.microsoft.com/office/drawing/2014/main" id="{129DFBBE-89CD-B0B5-C269-93D2777E6264}"/>
                </a:ext>
              </a:extLst>
            </p:cNvPr>
            <p:cNvSpPr/>
            <p:nvPr/>
          </p:nvSpPr>
          <p:spPr>
            <a:xfrm>
              <a:off x="299072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M365-A</a:t>
              </a: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53B8282F-022F-8EA8-568B-3325DB6B2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9783" y="5385775"/>
              <a:ext cx="609600" cy="609600"/>
            </a:xfrm>
            <a:prstGeom prst="rect">
              <a:avLst/>
            </a:prstGeom>
          </p:spPr>
        </p:pic>
      </p:grpSp>
      <p:grpSp>
        <p:nvGrpSpPr>
          <p:cNvPr id="30" name="KEY-M365B" descr="A box for M365 key in M365 key vault B">
            <a:extLst>
              <a:ext uri="{FF2B5EF4-FFF2-40B4-BE49-F238E27FC236}">
                <a16:creationId xmlns:a16="http://schemas.microsoft.com/office/drawing/2014/main" id="{5619B267-8742-0EF4-A578-92DE3493A6D9}"/>
              </a:ext>
            </a:extLst>
          </p:cNvPr>
          <p:cNvGrpSpPr/>
          <p:nvPr/>
        </p:nvGrpSpPr>
        <p:grpSpPr>
          <a:xfrm>
            <a:off x="7434980" y="4960768"/>
            <a:ext cx="1279374" cy="790953"/>
            <a:chOff x="7254674" y="5385775"/>
            <a:chExt cx="1279374" cy="790953"/>
          </a:xfrm>
        </p:grpSpPr>
        <p:sp>
          <p:nvSpPr>
            <p:cNvPr id="31" name="Rechteck: obere Ecken abgerundet 30">
              <a:extLst>
                <a:ext uri="{FF2B5EF4-FFF2-40B4-BE49-F238E27FC236}">
                  <a16:creationId xmlns:a16="http://schemas.microsoft.com/office/drawing/2014/main" id="{3B9F7BE1-8038-84F7-0FCA-4BBD821B91EE}"/>
                </a:ext>
              </a:extLst>
            </p:cNvPr>
            <p:cNvSpPr/>
            <p:nvPr/>
          </p:nvSpPr>
          <p:spPr>
            <a:xfrm>
              <a:off x="725467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M365-B</a:t>
              </a: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CD19AF40-5A39-0C71-55FF-5D322B519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4448" y="5385775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KV-M365-A" descr="A box for key vault M365 in subscription A">
            <a:extLst>
              <a:ext uri="{FF2B5EF4-FFF2-40B4-BE49-F238E27FC236}">
                <a16:creationId xmlns:a16="http://schemas.microsoft.com/office/drawing/2014/main" id="{8FC40A59-50B6-8F35-1549-247DF68453DC}"/>
              </a:ext>
            </a:extLst>
          </p:cNvPr>
          <p:cNvGrpSpPr/>
          <p:nvPr/>
        </p:nvGrpSpPr>
        <p:grpSpPr>
          <a:xfrm>
            <a:off x="3171031" y="3805853"/>
            <a:ext cx="1248437" cy="745406"/>
            <a:chOff x="2990725" y="4230860"/>
            <a:chExt cx="1248437" cy="745406"/>
          </a:xfrm>
        </p:grpSpPr>
        <p:sp>
          <p:nvSpPr>
            <p:cNvPr id="34" name="Rechteck: obere Ecken abgerundet 33">
              <a:extLst>
                <a:ext uri="{FF2B5EF4-FFF2-40B4-BE49-F238E27FC236}">
                  <a16:creationId xmlns:a16="http://schemas.microsoft.com/office/drawing/2014/main" id="{7BD737D3-8AF4-23E5-A1B2-55A9F47C8729}"/>
                </a:ext>
              </a:extLst>
            </p:cNvPr>
            <p:cNvSpPr/>
            <p:nvPr/>
          </p:nvSpPr>
          <p:spPr>
            <a:xfrm>
              <a:off x="2990725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M365-A</a:t>
              </a: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1A8DBEF8-EB31-C152-7FC6-070AB47F51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91919" y="4230860"/>
              <a:ext cx="547243" cy="547243"/>
            </a:xfrm>
            <a:prstGeom prst="rect">
              <a:avLst/>
            </a:prstGeom>
          </p:spPr>
        </p:pic>
      </p:grpSp>
      <p:grpSp>
        <p:nvGrpSpPr>
          <p:cNvPr id="36" name="KV-EXO-A" descr="A box for key vault EXO in subscription A">
            <a:extLst>
              <a:ext uri="{FF2B5EF4-FFF2-40B4-BE49-F238E27FC236}">
                <a16:creationId xmlns:a16="http://schemas.microsoft.com/office/drawing/2014/main" id="{F9E73BCC-6D7F-A241-293C-478AFE841C68}"/>
              </a:ext>
            </a:extLst>
          </p:cNvPr>
          <p:cNvGrpSpPr/>
          <p:nvPr/>
        </p:nvGrpSpPr>
        <p:grpSpPr>
          <a:xfrm>
            <a:off x="4477021" y="3746465"/>
            <a:ext cx="1263134" cy="804794"/>
            <a:chOff x="4296715" y="4171472"/>
            <a:chExt cx="1263134" cy="804794"/>
          </a:xfrm>
        </p:grpSpPr>
        <p:sp>
          <p:nvSpPr>
            <p:cNvPr id="37" name="Rechteck: obere Ecken abgerundet 36">
              <a:extLst>
                <a:ext uri="{FF2B5EF4-FFF2-40B4-BE49-F238E27FC236}">
                  <a16:creationId xmlns:a16="http://schemas.microsoft.com/office/drawing/2014/main" id="{6DDFF3C5-234D-33DC-9B52-31D451C52FB1}"/>
                </a:ext>
              </a:extLst>
            </p:cNvPr>
            <p:cNvSpPr/>
            <p:nvPr/>
          </p:nvSpPr>
          <p:spPr>
            <a:xfrm>
              <a:off x="4296715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EXO-A</a:t>
              </a: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00019A28-03B5-970A-035E-F4E14BCC1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0249" y="4171472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KV-EXO-B" descr="A box for key vault EXO in subscription B">
            <a:extLst>
              <a:ext uri="{FF2B5EF4-FFF2-40B4-BE49-F238E27FC236}">
                <a16:creationId xmlns:a16="http://schemas.microsoft.com/office/drawing/2014/main" id="{A21EA6E3-845D-31BA-F345-55960C5D4A15}"/>
              </a:ext>
            </a:extLst>
          </p:cNvPr>
          <p:cNvGrpSpPr/>
          <p:nvPr/>
        </p:nvGrpSpPr>
        <p:grpSpPr>
          <a:xfrm>
            <a:off x="8752242" y="3736813"/>
            <a:ext cx="1306266" cy="814446"/>
            <a:chOff x="8571936" y="4161820"/>
            <a:chExt cx="1306266" cy="814446"/>
          </a:xfrm>
        </p:grpSpPr>
        <p:sp>
          <p:nvSpPr>
            <p:cNvPr id="40" name="Rechteck: obere Ecken abgerundet 39">
              <a:extLst>
                <a:ext uri="{FF2B5EF4-FFF2-40B4-BE49-F238E27FC236}">
                  <a16:creationId xmlns:a16="http://schemas.microsoft.com/office/drawing/2014/main" id="{D7D76B1E-C08D-DAEE-1525-449F72318E57}"/>
                </a:ext>
              </a:extLst>
            </p:cNvPr>
            <p:cNvSpPr/>
            <p:nvPr/>
          </p:nvSpPr>
          <p:spPr>
            <a:xfrm>
              <a:off x="8571936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EXO-B</a:t>
              </a: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93C5B7C1-C876-40B3-07A1-4F47D983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68602" y="4161820"/>
              <a:ext cx="609600" cy="609600"/>
            </a:xfrm>
            <a:prstGeom prst="rect">
              <a:avLst/>
            </a:prstGeom>
          </p:spPr>
        </p:pic>
      </p:grpSp>
      <p:grpSp>
        <p:nvGrpSpPr>
          <p:cNvPr id="42" name="KV-M365-A" descr="A box for key vault M365 in subscription B">
            <a:extLst>
              <a:ext uri="{FF2B5EF4-FFF2-40B4-BE49-F238E27FC236}">
                <a16:creationId xmlns:a16="http://schemas.microsoft.com/office/drawing/2014/main" id="{03DD6917-B52A-8FD9-03F0-34D1CFADB4C4}"/>
              </a:ext>
            </a:extLst>
          </p:cNvPr>
          <p:cNvGrpSpPr/>
          <p:nvPr/>
        </p:nvGrpSpPr>
        <p:grpSpPr>
          <a:xfrm>
            <a:off x="7442404" y="3727393"/>
            <a:ext cx="1271950" cy="812426"/>
            <a:chOff x="7262098" y="4152400"/>
            <a:chExt cx="1271950" cy="812426"/>
          </a:xfrm>
        </p:grpSpPr>
        <p:sp>
          <p:nvSpPr>
            <p:cNvPr id="43" name="Rechteck: obere Ecken abgerundet 42">
              <a:extLst>
                <a:ext uri="{FF2B5EF4-FFF2-40B4-BE49-F238E27FC236}">
                  <a16:creationId xmlns:a16="http://schemas.microsoft.com/office/drawing/2014/main" id="{A3893CEB-6C61-37CB-8689-9E0B59AB5586}"/>
                </a:ext>
              </a:extLst>
            </p:cNvPr>
            <p:cNvSpPr/>
            <p:nvPr/>
          </p:nvSpPr>
          <p:spPr>
            <a:xfrm>
              <a:off x="7262098" y="446011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 M365-B</a:t>
              </a: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6F0E2AD7-69AB-359B-A49B-927A8E6AC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4448" y="4152400"/>
              <a:ext cx="609600" cy="609600"/>
            </a:xfrm>
            <a:prstGeom prst="rect">
              <a:avLst/>
            </a:prstGeom>
          </p:spPr>
        </p:pic>
      </p:grpSp>
      <p:grpSp>
        <p:nvGrpSpPr>
          <p:cNvPr id="45" name="KV-SPO-A" descr="A box for key vault SPO in subscription A">
            <a:extLst>
              <a:ext uri="{FF2B5EF4-FFF2-40B4-BE49-F238E27FC236}">
                <a16:creationId xmlns:a16="http://schemas.microsoft.com/office/drawing/2014/main" id="{2572224F-7465-D981-D3C4-4F41670192C8}"/>
              </a:ext>
            </a:extLst>
          </p:cNvPr>
          <p:cNvGrpSpPr/>
          <p:nvPr/>
        </p:nvGrpSpPr>
        <p:grpSpPr>
          <a:xfrm>
            <a:off x="5786859" y="3718141"/>
            <a:ext cx="1258102" cy="833118"/>
            <a:chOff x="5606553" y="4143148"/>
            <a:chExt cx="1258102" cy="833118"/>
          </a:xfrm>
        </p:grpSpPr>
        <p:sp>
          <p:nvSpPr>
            <p:cNvPr id="46" name="Rechteck: obere Ecken abgerundet 45">
              <a:extLst>
                <a:ext uri="{FF2B5EF4-FFF2-40B4-BE49-F238E27FC236}">
                  <a16:creationId xmlns:a16="http://schemas.microsoft.com/office/drawing/2014/main" id="{AC7C4CA2-9D02-31B6-3074-2DBB0F00FAD6}"/>
                </a:ext>
              </a:extLst>
            </p:cNvPr>
            <p:cNvSpPr/>
            <p:nvPr/>
          </p:nvSpPr>
          <p:spPr>
            <a:xfrm>
              <a:off x="5606553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SPO-A</a:t>
              </a:r>
            </a:p>
          </p:txBody>
        </p: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ED211E8C-DD20-49A6-F0DB-FDAE21B72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5055" y="4143148"/>
              <a:ext cx="609600" cy="609600"/>
            </a:xfrm>
            <a:prstGeom prst="rect">
              <a:avLst/>
            </a:prstGeom>
          </p:spPr>
        </p:pic>
      </p:grpSp>
      <p:grpSp>
        <p:nvGrpSpPr>
          <p:cNvPr id="48" name="KEY-SPO-A" descr="A box for SPO  key in SPO key vault A">
            <a:extLst>
              <a:ext uri="{FF2B5EF4-FFF2-40B4-BE49-F238E27FC236}">
                <a16:creationId xmlns:a16="http://schemas.microsoft.com/office/drawing/2014/main" id="{72D5FB5E-13F3-270A-C24C-CE8D5933ED3C}"/>
              </a:ext>
            </a:extLst>
          </p:cNvPr>
          <p:cNvGrpSpPr/>
          <p:nvPr/>
        </p:nvGrpSpPr>
        <p:grpSpPr>
          <a:xfrm>
            <a:off x="5783010" y="4977459"/>
            <a:ext cx="1275761" cy="774262"/>
            <a:chOff x="5602704" y="5402466"/>
            <a:chExt cx="1275761" cy="774262"/>
          </a:xfrm>
        </p:grpSpPr>
        <p:sp>
          <p:nvSpPr>
            <p:cNvPr id="49" name="Rechteck: obere Ecken abgerundet 48">
              <a:extLst>
                <a:ext uri="{FF2B5EF4-FFF2-40B4-BE49-F238E27FC236}">
                  <a16:creationId xmlns:a16="http://schemas.microsoft.com/office/drawing/2014/main" id="{D460050F-EA7A-C5B8-F919-B209B6EBB327}"/>
                </a:ext>
              </a:extLst>
            </p:cNvPr>
            <p:cNvSpPr/>
            <p:nvPr/>
          </p:nvSpPr>
          <p:spPr>
            <a:xfrm>
              <a:off x="560270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SPO-A</a:t>
              </a:r>
            </a:p>
          </p:txBody>
        </p: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1992B402-44EF-74CD-2E52-B5FC6F25D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865" y="5402466"/>
              <a:ext cx="609600" cy="609600"/>
            </a:xfrm>
            <a:prstGeom prst="rect">
              <a:avLst/>
            </a:prstGeom>
          </p:spPr>
        </p:pic>
      </p:grpSp>
      <p:grpSp>
        <p:nvGrpSpPr>
          <p:cNvPr id="51" name="KV-SPO-B" descr="A box for key vault SPO in subscription B">
            <a:extLst>
              <a:ext uri="{FF2B5EF4-FFF2-40B4-BE49-F238E27FC236}">
                <a16:creationId xmlns:a16="http://schemas.microsoft.com/office/drawing/2014/main" id="{DB6D6B6C-C76F-4747-FBC2-9527A9E53699}"/>
              </a:ext>
            </a:extLst>
          </p:cNvPr>
          <p:cNvGrpSpPr/>
          <p:nvPr/>
        </p:nvGrpSpPr>
        <p:grpSpPr>
          <a:xfrm>
            <a:off x="10062080" y="3736813"/>
            <a:ext cx="1287378" cy="814446"/>
            <a:chOff x="9881774" y="4161820"/>
            <a:chExt cx="1287378" cy="814446"/>
          </a:xfrm>
        </p:grpSpPr>
        <p:sp>
          <p:nvSpPr>
            <p:cNvPr id="52" name="Rechteck: obere Ecken abgerundet 51">
              <a:extLst>
                <a:ext uri="{FF2B5EF4-FFF2-40B4-BE49-F238E27FC236}">
                  <a16:creationId xmlns:a16="http://schemas.microsoft.com/office/drawing/2014/main" id="{0993B55B-B5A8-531D-475B-0B7D6B303F3D}"/>
                </a:ext>
              </a:extLst>
            </p:cNvPr>
            <p:cNvSpPr/>
            <p:nvPr/>
          </p:nvSpPr>
          <p:spPr>
            <a:xfrm>
              <a:off x="9881774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SPO-B</a:t>
              </a:r>
            </a:p>
          </p:txBody>
        </p: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7ADB4AFA-0D2E-BC59-6212-791F33C0D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9552" y="4161820"/>
              <a:ext cx="609600" cy="609600"/>
            </a:xfrm>
            <a:prstGeom prst="rect">
              <a:avLst/>
            </a:prstGeom>
          </p:spPr>
        </p:pic>
      </p:grpSp>
      <p:grpSp>
        <p:nvGrpSpPr>
          <p:cNvPr id="54" name="KEY-SPO-B" descr="A box for SPO  key in SPO key vault B">
            <a:extLst>
              <a:ext uri="{FF2B5EF4-FFF2-40B4-BE49-F238E27FC236}">
                <a16:creationId xmlns:a16="http://schemas.microsoft.com/office/drawing/2014/main" id="{47B822BF-D801-1D11-8012-302D42FC245A}"/>
              </a:ext>
            </a:extLst>
          </p:cNvPr>
          <p:cNvGrpSpPr/>
          <p:nvPr/>
        </p:nvGrpSpPr>
        <p:grpSpPr>
          <a:xfrm>
            <a:off x="10062079" y="4965417"/>
            <a:ext cx="1313870" cy="786304"/>
            <a:chOff x="9881773" y="5390424"/>
            <a:chExt cx="1313870" cy="786304"/>
          </a:xfrm>
        </p:grpSpPr>
        <p:sp>
          <p:nvSpPr>
            <p:cNvPr id="55" name="Rechteck: obere Ecken abgerundet 54">
              <a:extLst>
                <a:ext uri="{FF2B5EF4-FFF2-40B4-BE49-F238E27FC236}">
                  <a16:creationId xmlns:a16="http://schemas.microsoft.com/office/drawing/2014/main" id="{52A4F80D-4E0B-0809-E91A-22544DC63EFC}"/>
                </a:ext>
              </a:extLst>
            </p:cNvPr>
            <p:cNvSpPr/>
            <p:nvPr/>
          </p:nvSpPr>
          <p:spPr>
            <a:xfrm>
              <a:off x="9881773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SPO-B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14B1DBAD-3D82-14D1-58EA-428064A92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86043" y="5390424"/>
              <a:ext cx="609600" cy="6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35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5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250"/>
                            </p:stCondLst>
                            <p:childTnLst>
                              <p:par>
                                <p:cTn id="6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750"/>
                            </p:stCondLst>
                            <p:childTnLst>
                              <p:par>
                                <p:cTn id="72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750"/>
                            </p:stCondLst>
                            <p:childTnLst>
                              <p:par>
                                <p:cTn id="7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3250"/>
                            </p:stCondLst>
                            <p:childTnLst>
                              <p:par>
                                <p:cTn id="78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00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4500"/>
                            </p:stCondLst>
                            <p:childTnLst>
                              <p:par>
                                <p:cTn id="84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250"/>
                            </p:stCondLst>
                            <p:childTnLst>
                              <p:par>
                                <p:cTn id="8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750"/>
                            </p:stCondLst>
                            <p:childTnLst>
                              <p:par>
                                <p:cTn id="90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500"/>
                            </p:stCondLst>
                            <p:childTnLst>
                              <p:par>
                                <p:cTn id="9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39C8F2-B5CF-961F-5E5B-F8C097599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are for FastTrack</a:t>
            </a:r>
          </a:p>
        </p:txBody>
      </p:sp>
      <p:sp>
        <p:nvSpPr>
          <p:cNvPr id="4" name="Azure Subscriptions" descr="A box labelled Azure Subscriptions containg two boxes named Subscription A and B">
            <a:extLst>
              <a:ext uri="{FF2B5EF4-FFF2-40B4-BE49-F238E27FC236}">
                <a16:creationId xmlns:a16="http://schemas.microsoft.com/office/drawing/2014/main" id="{A7589A5E-8288-674F-13A7-B25DCE54EA4E}"/>
              </a:ext>
            </a:extLst>
          </p:cNvPr>
          <p:cNvSpPr/>
          <p:nvPr/>
        </p:nvSpPr>
        <p:spPr>
          <a:xfrm>
            <a:off x="669849" y="2570856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b="1" dirty="0"/>
              <a:t>Azure Subscriptions</a:t>
            </a:r>
          </a:p>
        </p:txBody>
      </p:sp>
      <p:sp>
        <p:nvSpPr>
          <p:cNvPr id="5" name="Key Vaults" descr="A box labelled Key Vaults containg six boxes for six key vaults, three key vaults per subscription">
            <a:extLst>
              <a:ext uri="{FF2B5EF4-FFF2-40B4-BE49-F238E27FC236}">
                <a16:creationId xmlns:a16="http://schemas.microsoft.com/office/drawing/2014/main" id="{38A7EBDA-978C-0717-C98B-3F62C1F769E4}"/>
              </a:ext>
            </a:extLst>
          </p:cNvPr>
          <p:cNvSpPr/>
          <p:nvPr/>
        </p:nvSpPr>
        <p:spPr>
          <a:xfrm>
            <a:off x="669849" y="3783050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b="1" dirty="0"/>
              <a:t>Key </a:t>
            </a:r>
            <a:r>
              <a:rPr lang="de-DE" b="1" dirty="0" err="1"/>
              <a:t>Vaults</a:t>
            </a:r>
            <a:endParaRPr lang="de-DE" b="1" dirty="0"/>
          </a:p>
        </p:txBody>
      </p:sp>
      <p:sp>
        <p:nvSpPr>
          <p:cNvPr id="6" name="Keys" descr="A box labelled Keys containg six boxes for six keys, one key per key vault">
            <a:extLst>
              <a:ext uri="{FF2B5EF4-FFF2-40B4-BE49-F238E27FC236}">
                <a16:creationId xmlns:a16="http://schemas.microsoft.com/office/drawing/2014/main" id="{64CF4947-9331-5789-B073-10FB2353BA82}"/>
              </a:ext>
            </a:extLst>
          </p:cNvPr>
          <p:cNvSpPr/>
          <p:nvPr/>
        </p:nvSpPr>
        <p:spPr>
          <a:xfrm>
            <a:off x="669849" y="4995244"/>
            <a:ext cx="10741794" cy="1008246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b="1" dirty="0"/>
              <a:t>Keys</a:t>
            </a:r>
          </a:p>
        </p:txBody>
      </p:sp>
      <p:sp>
        <p:nvSpPr>
          <p:cNvPr id="7" name="Subscription B" descr="A box representing subscription B">
            <a:extLst>
              <a:ext uri="{FF2B5EF4-FFF2-40B4-BE49-F238E27FC236}">
                <a16:creationId xmlns:a16="http://schemas.microsoft.com/office/drawing/2014/main" id="{A8A2BCA1-7E0F-862E-65C0-E07E7CDC6896}"/>
              </a:ext>
            </a:extLst>
          </p:cNvPr>
          <p:cNvSpPr/>
          <p:nvPr/>
        </p:nvSpPr>
        <p:spPr>
          <a:xfrm>
            <a:off x="7434980" y="2822625"/>
            <a:ext cx="3657003" cy="504708"/>
          </a:xfrm>
          <a:prstGeom prst="round2SameRect">
            <a:avLst/>
          </a:prstGeom>
          <a:solidFill>
            <a:srgbClr val="00386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Subscription</a:t>
            </a:r>
            <a:r>
              <a:rPr lang="de-DE" b="1" dirty="0"/>
              <a:t> B</a:t>
            </a:r>
          </a:p>
        </p:txBody>
      </p:sp>
      <p:sp>
        <p:nvSpPr>
          <p:cNvPr id="8" name="Subscription A" descr="A box representing subscription A">
            <a:extLst>
              <a:ext uri="{FF2B5EF4-FFF2-40B4-BE49-F238E27FC236}">
                <a16:creationId xmlns:a16="http://schemas.microsoft.com/office/drawing/2014/main" id="{264C2B0D-CCD9-F09B-5234-BA0D6F0B6E1E}"/>
              </a:ext>
            </a:extLst>
          </p:cNvPr>
          <p:cNvSpPr/>
          <p:nvPr/>
        </p:nvSpPr>
        <p:spPr>
          <a:xfrm>
            <a:off x="3171031" y="2822625"/>
            <a:ext cx="3645731" cy="504708"/>
          </a:xfrm>
          <a:prstGeom prst="round2SameRect">
            <a:avLst/>
          </a:prstGeom>
          <a:solidFill>
            <a:srgbClr val="00386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Subscription</a:t>
            </a:r>
            <a:r>
              <a:rPr lang="de-DE" b="1" dirty="0"/>
              <a:t> A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CD44F3F-1657-41CF-AA79-BC566E37DF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85981" y="3327333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E874400-27B6-48CD-EBA5-2F43669793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991971" y="3332607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93B547A3-7B29-287E-5EA8-4C2E72ED1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276306" y="3332607"/>
            <a:ext cx="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616AAE4-8D40-5EC3-DFDF-91A70F0F8B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28" idx="3"/>
          </p:cNvCxnSpPr>
          <p:nvPr/>
        </p:nvCxnSpPr>
        <p:spPr>
          <a:xfrm flipH="1">
            <a:off x="3685982" y="4551259"/>
            <a:ext cx="1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D320670-D81E-16D1-95BB-859EEFDF5C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7" idx="1"/>
            <a:endCxn id="22" idx="3"/>
          </p:cNvCxnSpPr>
          <p:nvPr/>
        </p:nvCxnSpPr>
        <p:spPr>
          <a:xfrm>
            <a:off x="4991973" y="4551259"/>
            <a:ext cx="2737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A894BB10-18E2-D10F-52F8-DE62024BAB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6" idx="1"/>
            <a:endCxn id="49" idx="3"/>
          </p:cNvCxnSpPr>
          <p:nvPr/>
        </p:nvCxnSpPr>
        <p:spPr>
          <a:xfrm flipH="1">
            <a:off x="6297962" y="4551259"/>
            <a:ext cx="3849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7E97590-917A-1860-C55C-D4A6A39A75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3" idx="3"/>
          </p:cNvCxnSpPr>
          <p:nvPr/>
        </p:nvCxnSpPr>
        <p:spPr>
          <a:xfrm flipV="1">
            <a:off x="7957356" y="3327333"/>
            <a:ext cx="0" cy="70777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196827-6296-D4CE-3BF6-AA7CFA7FC3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0" idx="3"/>
            <a:endCxn id="7" idx="1"/>
          </p:cNvCxnSpPr>
          <p:nvPr/>
        </p:nvCxnSpPr>
        <p:spPr>
          <a:xfrm flipH="1" flipV="1">
            <a:off x="9263482" y="3327333"/>
            <a:ext cx="3712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9B2827A-70DB-AF18-B5EC-F5CEEAD69E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52" idx="3"/>
          </p:cNvCxnSpPr>
          <p:nvPr/>
        </p:nvCxnSpPr>
        <p:spPr>
          <a:xfrm flipV="1">
            <a:off x="10577032" y="3327333"/>
            <a:ext cx="0" cy="719218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7560132-E5FE-255C-0FE9-1F169665DF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3" idx="1"/>
            <a:endCxn id="31" idx="3"/>
          </p:cNvCxnSpPr>
          <p:nvPr/>
        </p:nvCxnSpPr>
        <p:spPr>
          <a:xfrm flipH="1">
            <a:off x="7949932" y="4539819"/>
            <a:ext cx="7424" cy="70719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38979519-4DEB-D959-AFFF-CA0FB3CA0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0" idx="1"/>
            <a:endCxn id="25" idx="3"/>
          </p:cNvCxnSpPr>
          <p:nvPr/>
        </p:nvCxnSpPr>
        <p:spPr>
          <a:xfrm>
            <a:off x="9267194" y="4551259"/>
            <a:ext cx="0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1F45A4F-B9D8-4ECF-323F-4F3A96537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52" idx="1"/>
            <a:endCxn id="55" idx="3"/>
          </p:cNvCxnSpPr>
          <p:nvPr/>
        </p:nvCxnSpPr>
        <p:spPr>
          <a:xfrm flipH="1">
            <a:off x="10577031" y="4551259"/>
            <a:ext cx="1" cy="695754"/>
          </a:xfrm>
          <a:prstGeom prst="line">
            <a:avLst/>
          </a:prstGeom>
          <a:ln w="38100">
            <a:solidFill>
              <a:srgbClr val="137BD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21" name="KEY-EXO-A" descr="A box for EXO key in EXO key vault A">
            <a:extLst>
              <a:ext uri="{FF2B5EF4-FFF2-40B4-BE49-F238E27FC236}">
                <a16:creationId xmlns:a16="http://schemas.microsoft.com/office/drawing/2014/main" id="{C3E44671-DFA8-3A70-4B49-F474728808ED}"/>
              </a:ext>
            </a:extLst>
          </p:cNvPr>
          <p:cNvGrpSpPr/>
          <p:nvPr/>
        </p:nvGrpSpPr>
        <p:grpSpPr>
          <a:xfrm>
            <a:off x="4479758" y="4995244"/>
            <a:ext cx="1267375" cy="756477"/>
            <a:chOff x="4296714" y="5420251"/>
            <a:chExt cx="1267375" cy="756477"/>
          </a:xfrm>
        </p:grpSpPr>
        <p:sp>
          <p:nvSpPr>
            <p:cNvPr id="22" name="Rechteck: obere Ecken abgerundet 21">
              <a:extLst>
                <a:ext uri="{FF2B5EF4-FFF2-40B4-BE49-F238E27FC236}">
                  <a16:creationId xmlns:a16="http://schemas.microsoft.com/office/drawing/2014/main" id="{58B46947-06C7-1975-0469-721C9DA96430}"/>
                </a:ext>
              </a:extLst>
            </p:cNvPr>
            <p:cNvSpPr/>
            <p:nvPr/>
          </p:nvSpPr>
          <p:spPr>
            <a:xfrm>
              <a:off x="429671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EXO-A</a:t>
              </a: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AE3E6E1A-8676-1569-7247-9172BC660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4489" y="5420251"/>
              <a:ext cx="609600" cy="609600"/>
            </a:xfrm>
            <a:prstGeom prst="rect">
              <a:avLst/>
            </a:prstGeom>
          </p:spPr>
        </p:pic>
      </p:grpSp>
      <p:grpSp>
        <p:nvGrpSpPr>
          <p:cNvPr id="24" name="KEY-EXO-B" descr="A box for EXO key in EXO key vault B">
            <a:extLst>
              <a:ext uri="{FF2B5EF4-FFF2-40B4-BE49-F238E27FC236}">
                <a16:creationId xmlns:a16="http://schemas.microsoft.com/office/drawing/2014/main" id="{F67BC86E-BCC3-48AE-199E-52F7420F449D}"/>
              </a:ext>
            </a:extLst>
          </p:cNvPr>
          <p:cNvGrpSpPr/>
          <p:nvPr/>
        </p:nvGrpSpPr>
        <p:grpSpPr>
          <a:xfrm>
            <a:off x="8752242" y="4942213"/>
            <a:ext cx="1294976" cy="809508"/>
            <a:chOff x="8571936" y="5367220"/>
            <a:chExt cx="1294976" cy="809508"/>
          </a:xfrm>
        </p:grpSpPr>
        <p:sp>
          <p:nvSpPr>
            <p:cNvPr id="25" name="Rechteck: obere Ecken abgerundet 24">
              <a:extLst>
                <a:ext uri="{FF2B5EF4-FFF2-40B4-BE49-F238E27FC236}">
                  <a16:creationId xmlns:a16="http://schemas.microsoft.com/office/drawing/2014/main" id="{580A5C42-214C-57EE-0179-817FB5E81660}"/>
                </a:ext>
              </a:extLst>
            </p:cNvPr>
            <p:cNvSpPr/>
            <p:nvPr/>
          </p:nvSpPr>
          <p:spPr>
            <a:xfrm>
              <a:off x="8571936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EXO-B</a:t>
              </a:r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5421C61D-F08F-4A00-CB9A-821643975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7312" y="5367220"/>
              <a:ext cx="609600" cy="609600"/>
            </a:xfrm>
            <a:prstGeom prst="rect">
              <a:avLst/>
            </a:prstGeom>
          </p:spPr>
        </p:pic>
      </p:grpSp>
      <p:grpSp>
        <p:nvGrpSpPr>
          <p:cNvPr id="27" name="KEY-M365-A" descr="A box for M365 key in M365 key vault A">
            <a:extLst>
              <a:ext uri="{FF2B5EF4-FFF2-40B4-BE49-F238E27FC236}">
                <a16:creationId xmlns:a16="http://schemas.microsoft.com/office/drawing/2014/main" id="{963DA57C-C4CC-9014-C485-5578DEF9F1C9}"/>
              </a:ext>
            </a:extLst>
          </p:cNvPr>
          <p:cNvGrpSpPr/>
          <p:nvPr/>
        </p:nvGrpSpPr>
        <p:grpSpPr>
          <a:xfrm>
            <a:off x="3171030" y="4960768"/>
            <a:ext cx="1268659" cy="790953"/>
            <a:chOff x="2990724" y="5385775"/>
            <a:chExt cx="1268659" cy="790953"/>
          </a:xfrm>
        </p:grpSpPr>
        <p:sp>
          <p:nvSpPr>
            <p:cNvPr id="28" name="Rechteck: obere Ecken abgerundet 27">
              <a:extLst>
                <a:ext uri="{FF2B5EF4-FFF2-40B4-BE49-F238E27FC236}">
                  <a16:creationId xmlns:a16="http://schemas.microsoft.com/office/drawing/2014/main" id="{129DFBBE-89CD-B0B5-C269-93D2777E6264}"/>
                </a:ext>
              </a:extLst>
            </p:cNvPr>
            <p:cNvSpPr/>
            <p:nvPr/>
          </p:nvSpPr>
          <p:spPr>
            <a:xfrm>
              <a:off x="299072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M365-A</a:t>
              </a: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53B8282F-022F-8EA8-568B-3325DB6B2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9783" y="5385775"/>
              <a:ext cx="609600" cy="609600"/>
            </a:xfrm>
            <a:prstGeom prst="rect">
              <a:avLst/>
            </a:prstGeom>
          </p:spPr>
        </p:pic>
      </p:grpSp>
      <p:grpSp>
        <p:nvGrpSpPr>
          <p:cNvPr id="30" name="KEY-M365B" descr="A box for M365 key in M365 key vault B">
            <a:extLst>
              <a:ext uri="{FF2B5EF4-FFF2-40B4-BE49-F238E27FC236}">
                <a16:creationId xmlns:a16="http://schemas.microsoft.com/office/drawing/2014/main" id="{5619B267-8742-0EF4-A578-92DE3493A6D9}"/>
              </a:ext>
            </a:extLst>
          </p:cNvPr>
          <p:cNvGrpSpPr/>
          <p:nvPr/>
        </p:nvGrpSpPr>
        <p:grpSpPr>
          <a:xfrm>
            <a:off x="7434980" y="4960768"/>
            <a:ext cx="1279374" cy="790953"/>
            <a:chOff x="7254674" y="5385775"/>
            <a:chExt cx="1279374" cy="790953"/>
          </a:xfrm>
        </p:grpSpPr>
        <p:sp>
          <p:nvSpPr>
            <p:cNvPr id="31" name="Rechteck: obere Ecken abgerundet 30">
              <a:extLst>
                <a:ext uri="{FF2B5EF4-FFF2-40B4-BE49-F238E27FC236}">
                  <a16:creationId xmlns:a16="http://schemas.microsoft.com/office/drawing/2014/main" id="{3B9F7BE1-8038-84F7-0FCA-4BBD821B91EE}"/>
                </a:ext>
              </a:extLst>
            </p:cNvPr>
            <p:cNvSpPr/>
            <p:nvPr/>
          </p:nvSpPr>
          <p:spPr>
            <a:xfrm>
              <a:off x="725467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M365-B</a:t>
              </a: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CD19AF40-5A39-0C71-55FF-5D322B519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4448" y="5385775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KV-EXO-A" descr="A box for key vault EXO in subscription A">
            <a:extLst>
              <a:ext uri="{FF2B5EF4-FFF2-40B4-BE49-F238E27FC236}">
                <a16:creationId xmlns:a16="http://schemas.microsoft.com/office/drawing/2014/main" id="{F9E73BCC-6D7F-A241-293C-478AFE841C68}"/>
              </a:ext>
            </a:extLst>
          </p:cNvPr>
          <p:cNvGrpSpPr/>
          <p:nvPr/>
        </p:nvGrpSpPr>
        <p:grpSpPr>
          <a:xfrm>
            <a:off x="4477021" y="3746465"/>
            <a:ext cx="1263134" cy="804794"/>
            <a:chOff x="4296715" y="4171472"/>
            <a:chExt cx="1263134" cy="804794"/>
          </a:xfrm>
        </p:grpSpPr>
        <p:sp>
          <p:nvSpPr>
            <p:cNvPr id="37" name="Rechteck: obere Ecken abgerundet 36">
              <a:extLst>
                <a:ext uri="{FF2B5EF4-FFF2-40B4-BE49-F238E27FC236}">
                  <a16:creationId xmlns:a16="http://schemas.microsoft.com/office/drawing/2014/main" id="{6DDFF3C5-234D-33DC-9B52-31D451C52FB1}"/>
                </a:ext>
              </a:extLst>
            </p:cNvPr>
            <p:cNvSpPr/>
            <p:nvPr/>
          </p:nvSpPr>
          <p:spPr>
            <a:xfrm>
              <a:off x="4296715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EXO-A</a:t>
              </a: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00019A28-03B5-970A-035E-F4E14BCC1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0249" y="4171472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KV-EXO-B" descr="A box for key vault EXO in subscription B">
            <a:extLst>
              <a:ext uri="{FF2B5EF4-FFF2-40B4-BE49-F238E27FC236}">
                <a16:creationId xmlns:a16="http://schemas.microsoft.com/office/drawing/2014/main" id="{A21EA6E3-845D-31BA-F345-55960C5D4A15}"/>
              </a:ext>
            </a:extLst>
          </p:cNvPr>
          <p:cNvGrpSpPr/>
          <p:nvPr/>
        </p:nvGrpSpPr>
        <p:grpSpPr>
          <a:xfrm>
            <a:off x="8752242" y="3736813"/>
            <a:ext cx="1306266" cy="814446"/>
            <a:chOff x="8571936" y="4161820"/>
            <a:chExt cx="1306266" cy="814446"/>
          </a:xfrm>
        </p:grpSpPr>
        <p:sp>
          <p:nvSpPr>
            <p:cNvPr id="40" name="Rechteck: obere Ecken abgerundet 39">
              <a:extLst>
                <a:ext uri="{FF2B5EF4-FFF2-40B4-BE49-F238E27FC236}">
                  <a16:creationId xmlns:a16="http://schemas.microsoft.com/office/drawing/2014/main" id="{D7D76B1E-C08D-DAEE-1525-449F72318E57}"/>
                </a:ext>
              </a:extLst>
            </p:cNvPr>
            <p:cNvSpPr/>
            <p:nvPr/>
          </p:nvSpPr>
          <p:spPr>
            <a:xfrm>
              <a:off x="8571936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EXO-B</a:t>
              </a: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93C5B7C1-C876-40B3-07A1-4F47D983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68602" y="4161820"/>
              <a:ext cx="609600" cy="609600"/>
            </a:xfrm>
            <a:prstGeom prst="rect">
              <a:avLst/>
            </a:prstGeom>
          </p:spPr>
        </p:pic>
      </p:grpSp>
      <p:grpSp>
        <p:nvGrpSpPr>
          <p:cNvPr id="42" name="KV-M365-A" descr="A box for key vault M365 in subscription B">
            <a:extLst>
              <a:ext uri="{FF2B5EF4-FFF2-40B4-BE49-F238E27FC236}">
                <a16:creationId xmlns:a16="http://schemas.microsoft.com/office/drawing/2014/main" id="{03DD6917-B52A-8FD9-03F0-34D1CFADB4C4}"/>
              </a:ext>
            </a:extLst>
          </p:cNvPr>
          <p:cNvGrpSpPr/>
          <p:nvPr/>
        </p:nvGrpSpPr>
        <p:grpSpPr>
          <a:xfrm>
            <a:off x="7442404" y="3727393"/>
            <a:ext cx="1271950" cy="812426"/>
            <a:chOff x="7262098" y="4152400"/>
            <a:chExt cx="1271950" cy="812426"/>
          </a:xfrm>
        </p:grpSpPr>
        <p:sp>
          <p:nvSpPr>
            <p:cNvPr id="43" name="Rechteck: obere Ecken abgerundet 42">
              <a:extLst>
                <a:ext uri="{FF2B5EF4-FFF2-40B4-BE49-F238E27FC236}">
                  <a16:creationId xmlns:a16="http://schemas.microsoft.com/office/drawing/2014/main" id="{A3893CEB-6C61-37CB-8689-9E0B59AB5586}"/>
                </a:ext>
              </a:extLst>
            </p:cNvPr>
            <p:cNvSpPr/>
            <p:nvPr/>
          </p:nvSpPr>
          <p:spPr>
            <a:xfrm>
              <a:off x="7262098" y="446011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 M365-B</a:t>
              </a: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6F0E2AD7-69AB-359B-A49B-927A8E6AC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4448" y="4152400"/>
              <a:ext cx="609600" cy="609600"/>
            </a:xfrm>
            <a:prstGeom prst="rect">
              <a:avLst/>
            </a:prstGeom>
          </p:spPr>
        </p:pic>
      </p:grpSp>
      <p:grpSp>
        <p:nvGrpSpPr>
          <p:cNvPr id="45" name="KV-SPO-A" descr="A box for key vault SPO in subscription A">
            <a:extLst>
              <a:ext uri="{FF2B5EF4-FFF2-40B4-BE49-F238E27FC236}">
                <a16:creationId xmlns:a16="http://schemas.microsoft.com/office/drawing/2014/main" id="{2572224F-7465-D981-D3C4-4F41670192C8}"/>
              </a:ext>
            </a:extLst>
          </p:cNvPr>
          <p:cNvGrpSpPr/>
          <p:nvPr/>
        </p:nvGrpSpPr>
        <p:grpSpPr>
          <a:xfrm>
            <a:off x="5786859" y="3718141"/>
            <a:ext cx="1258102" cy="833118"/>
            <a:chOff x="5606553" y="4143148"/>
            <a:chExt cx="1258102" cy="833118"/>
          </a:xfrm>
        </p:grpSpPr>
        <p:sp>
          <p:nvSpPr>
            <p:cNvPr id="46" name="Rechteck: obere Ecken abgerundet 45">
              <a:extLst>
                <a:ext uri="{FF2B5EF4-FFF2-40B4-BE49-F238E27FC236}">
                  <a16:creationId xmlns:a16="http://schemas.microsoft.com/office/drawing/2014/main" id="{AC7C4CA2-9D02-31B6-3074-2DBB0F00FAD6}"/>
                </a:ext>
              </a:extLst>
            </p:cNvPr>
            <p:cNvSpPr/>
            <p:nvPr/>
          </p:nvSpPr>
          <p:spPr>
            <a:xfrm>
              <a:off x="5606553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SPO-A</a:t>
              </a:r>
            </a:p>
          </p:txBody>
        </p: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ED211E8C-DD20-49A6-F0DB-FDAE21B72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5055" y="4143148"/>
              <a:ext cx="609600" cy="609600"/>
            </a:xfrm>
            <a:prstGeom prst="rect">
              <a:avLst/>
            </a:prstGeom>
          </p:spPr>
        </p:pic>
      </p:grpSp>
      <p:grpSp>
        <p:nvGrpSpPr>
          <p:cNvPr id="48" name="KEY-SPO-A" descr="A box for SPO  key in SPO key vault A">
            <a:extLst>
              <a:ext uri="{FF2B5EF4-FFF2-40B4-BE49-F238E27FC236}">
                <a16:creationId xmlns:a16="http://schemas.microsoft.com/office/drawing/2014/main" id="{72D5FB5E-13F3-270A-C24C-CE8D5933ED3C}"/>
              </a:ext>
            </a:extLst>
          </p:cNvPr>
          <p:cNvGrpSpPr/>
          <p:nvPr/>
        </p:nvGrpSpPr>
        <p:grpSpPr>
          <a:xfrm>
            <a:off x="5783010" y="4977459"/>
            <a:ext cx="1275761" cy="774262"/>
            <a:chOff x="5602704" y="5402466"/>
            <a:chExt cx="1275761" cy="774262"/>
          </a:xfrm>
        </p:grpSpPr>
        <p:sp>
          <p:nvSpPr>
            <p:cNvPr id="49" name="Rechteck: obere Ecken abgerundet 48">
              <a:extLst>
                <a:ext uri="{FF2B5EF4-FFF2-40B4-BE49-F238E27FC236}">
                  <a16:creationId xmlns:a16="http://schemas.microsoft.com/office/drawing/2014/main" id="{D460050F-EA7A-C5B8-F919-B209B6EBB327}"/>
                </a:ext>
              </a:extLst>
            </p:cNvPr>
            <p:cNvSpPr/>
            <p:nvPr/>
          </p:nvSpPr>
          <p:spPr>
            <a:xfrm>
              <a:off x="5602704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SPO-A</a:t>
              </a:r>
            </a:p>
          </p:txBody>
        </p: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1992B402-44EF-74CD-2E52-B5FC6F25D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865" y="5402466"/>
              <a:ext cx="609600" cy="609600"/>
            </a:xfrm>
            <a:prstGeom prst="rect">
              <a:avLst/>
            </a:prstGeom>
          </p:spPr>
        </p:pic>
      </p:grpSp>
      <p:grpSp>
        <p:nvGrpSpPr>
          <p:cNvPr id="51" name="KV-SPO-B" descr="A box for key vault SPO in subscription B">
            <a:extLst>
              <a:ext uri="{FF2B5EF4-FFF2-40B4-BE49-F238E27FC236}">
                <a16:creationId xmlns:a16="http://schemas.microsoft.com/office/drawing/2014/main" id="{DB6D6B6C-C76F-4747-FBC2-9527A9E53699}"/>
              </a:ext>
            </a:extLst>
          </p:cNvPr>
          <p:cNvGrpSpPr/>
          <p:nvPr/>
        </p:nvGrpSpPr>
        <p:grpSpPr>
          <a:xfrm>
            <a:off x="10062080" y="3736813"/>
            <a:ext cx="1287378" cy="814446"/>
            <a:chOff x="9881774" y="4161820"/>
            <a:chExt cx="1287378" cy="814446"/>
          </a:xfrm>
        </p:grpSpPr>
        <p:sp>
          <p:nvSpPr>
            <p:cNvPr id="52" name="Rechteck: obere Ecken abgerundet 51">
              <a:extLst>
                <a:ext uri="{FF2B5EF4-FFF2-40B4-BE49-F238E27FC236}">
                  <a16:creationId xmlns:a16="http://schemas.microsoft.com/office/drawing/2014/main" id="{0993B55B-B5A8-531D-475B-0B7D6B303F3D}"/>
                </a:ext>
              </a:extLst>
            </p:cNvPr>
            <p:cNvSpPr/>
            <p:nvPr/>
          </p:nvSpPr>
          <p:spPr>
            <a:xfrm>
              <a:off x="9881774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SPO-B</a:t>
              </a:r>
            </a:p>
          </p:txBody>
        </p: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7ADB4AFA-0D2E-BC59-6212-791F33C0D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9552" y="4161820"/>
              <a:ext cx="609600" cy="609600"/>
            </a:xfrm>
            <a:prstGeom prst="rect">
              <a:avLst/>
            </a:prstGeom>
          </p:spPr>
        </p:pic>
      </p:grpSp>
      <p:grpSp>
        <p:nvGrpSpPr>
          <p:cNvPr id="54" name="KEY-SPO-B" descr="A box for SPO  key in SPO key vault B">
            <a:extLst>
              <a:ext uri="{FF2B5EF4-FFF2-40B4-BE49-F238E27FC236}">
                <a16:creationId xmlns:a16="http://schemas.microsoft.com/office/drawing/2014/main" id="{47B822BF-D801-1D11-8012-302D42FC245A}"/>
              </a:ext>
            </a:extLst>
          </p:cNvPr>
          <p:cNvGrpSpPr/>
          <p:nvPr/>
        </p:nvGrpSpPr>
        <p:grpSpPr>
          <a:xfrm>
            <a:off x="10062079" y="4965417"/>
            <a:ext cx="1313870" cy="786304"/>
            <a:chOff x="9881773" y="5390424"/>
            <a:chExt cx="1313870" cy="786304"/>
          </a:xfrm>
        </p:grpSpPr>
        <p:sp>
          <p:nvSpPr>
            <p:cNvPr id="55" name="Rechteck: obere Ecken abgerundet 54">
              <a:extLst>
                <a:ext uri="{FF2B5EF4-FFF2-40B4-BE49-F238E27FC236}">
                  <a16:creationId xmlns:a16="http://schemas.microsoft.com/office/drawing/2014/main" id="{52A4F80D-4E0B-0809-E91A-22544DC63EFC}"/>
                </a:ext>
              </a:extLst>
            </p:cNvPr>
            <p:cNvSpPr/>
            <p:nvPr/>
          </p:nvSpPr>
          <p:spPr>
            <a:xfrm>
              <a:off x="9881773" y="5672020"/>
              <a:ext cx="1029903" cy="504708"/>
            </a:xfrm>
            <a:prstGeom prst="round2SameRect">
              <a:avLst/>
            </a:prstGeom>
            <a:solidFill>
              <a:srgbClr val="253B5D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EY- SPO-B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14B1DBAD-3D82-14D1-58EA-428064A92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86043" y="5390424"/>
              <a:ext cx="609600" cy="609600"/>
            </a:xfrm>
            <a:prstGeom prst="rect">
              <a:avLst/>
            </a:prstGeom>
          </p:spPr>
        </p:pic>
      </p:grpSp>
      <p:sp>
        <p:nvSpPr>
          <p:cNvPr id="57" name="Rechteck 56" descr="A frame surrounding M365 key A">
            <a:extLst>
              <a:ext uri="{FF2B5EF4-FFF2-40B4-BE49-F238E27FC236}">
                <a16:creationId xmlns:a16="http://schemas.microsoft.com/office/drawing/2014/main" id="{4C61AF06-C6D0-8378-DD93-64F25064251F}"/>
              </a:ext>
            </a:extLst>
          </p:cNvPr>
          <p:cNvSpPr/>
          <p:nvPr/>
        </p:nvSpPr>
        <p:spPr>
          <a:xfrm>
            <a:off x="4359727" y="4995244"/>
            <a:ext cx="1330896" cy="1008246"/>
          </a:xfrm>
          <a:prstGeom prst="rect">
            <a:avLst/>
          </a:prstGeom>
          <a:noFill/>
          <a:ln w="38100" cap="flat" cmpd="sng" algn="ctr">
            <a:solidFill>
              <a:srgbClr val="59E6F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de-DE" b="1"/>
          </a:p>
        </p:txBody>
      </p:sp>
      <p:sp>
        <p:nvSpPr>
          <p:cNvPr id="58" name="Rechteck 57" descr="A frame surrounding M365 key B">
            <a:extLst>
              <a:ext uri="{FF2B5EF4-FFF2-40B4-BE49-F238E27FC236}">
                <a16:creationId xmlns:a16="http://schemas.microsoft.com/office/drawing/2014/main" id="{8A6C45B6-AD94-87F9-CB27-A08D2DD720BF}"/>
              </a:ext>
            </a:extLst>
          </p:cNvPr>
          <p:cNvSpPr/>
          <p:nvPr/>
        </p:nvSpPr>
        <p:spPr>
          <a:xfrm>
            <a:off x="8654200" y="4995244"/>
            <a:ext cx="1330896" cy="1008246"/>
          </a:xfrm>
          <a:prstGeom prst="rect">
            <a:avLst/>
          </a:prstGeom>
          <a:noFill/>
          <a:ln w="38100" cap="flat" cmpd="sng" algn="ctr">
            <a:solidFill>
              <a:srgbClr val="59E6F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de-DE" b="1"/>
          </a:p>
        </p:txBody>
      </p:sp>
      <p:sp>
        <p:nvSpPr>
          <p:cNvPr id="59" name="Rechteck 58" descr="A label linking both M365 key in subscription A and B">
            <a:extLst>
              <a:ext uri="{FF2B5EF4-FFF2-40B4-BE49-F238E27FC236}">
                <a16:creationId xmlns:a16="http://schemas.microsoft.com/office/drawing/2014/main" id="{2E19940F-5339-C2B1-8A65-592F4938DEDB}"/>
              </a:ext>
            </a:extLst>
          </p:cNvPr>
          <p:cNvSpPr/>
          <p:nvPr/>
        </p:nvSpPr>
        <p:spPr>
          <a:xfrm>
            <a:off x="4359728" y="6084884"/>
            <a:ext cx="5625368" cy="280275"/>
          </a:xfrm>
          <a:prstGeom prst="rect">
            <a:avLst/>
          </a:prstGeom>
          <a:solidFill>
            <a:srgbClr val="59E6FD"/>
          </a:solidFill>
          <a:ln>
            <a:solidFill>
              <a:srgbClr val="59E6FD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/>
              <a:t>1 Key Pair per </a:t>
            </a:r>
            <a:r>
              <a:rPr lang="de-DE" b="1" dirty="0" err="1"/>
              <a:t>workload</a:t>
            </a:r>
            <a:endParaRPr lang="de-DE" b="1" dirty="0"/>
          </a:p>
        </p:txBody>
      </p:sp>
      <p:grpSp>
        <p:nvGrpSpPr>
          <p:cNvPr id="60" name="KV-M365-A" descr="A box for key vault M365 in subscription A">
            <a:extLst>
              <a:ext uri="{FF2B5EF4-FFF2-40B4-BE49-F238E27FC236}">
                <a16:creationId xmlns:a16="http://schemas.microsoft.com/office/drawing/2014/main" id="{6F20FDCB-9523-9DBB-8586-E9618A88D131}"/>
              </a:ext>
            </a:extLst>
          </p:cNvPr>
          <p:cNvGrpSpPr/>
          <p:nvPr/>
        </p:nvGrpSpPr>
        <p:grpSpPr>
          <a:xfrm>
            <a:off x="3171031" y="3805853"/>
            <a:ext cx="1248437" cy="745406"/>
            <a:chOff x="2990725" y="4230860"/>
            <a:chExt cx="1248437" cy="745406"/>
          </a:xfrm>
        </p:grpSpPr>
        <p:sp>
          <p:nvSpPr>
            <p:cNvPr id="61" name="Rechteck: obere Ecken abgerundet 60">
              <a:extLst>
                <a:ext uri="{FF2B5EF4-FFF2-40B4-BE49-F238E27FC236}">
                  <a16:creationId xmlns:a16="http://schemas.microsoft.com/office/drawing/2014/main" id="{31EF3619-2D28-E687-0E64-34EB8F489148}"/>
                </a:ext>
              </a:extLst>
            </p:cNvPr>
            <p:cNvSpPr/>
            <p:nvPr/>
          </p:nvSpPr>
          <p:spPr>
            <a:xfrm>
              <a:off x="2990725" y="4471558"/>
              <a:ext cx="1029903" cy="504708"/>
            </a:xfrm>
            <a:prstGeom prst="round2SameRect">
              <a:avLst/>
            </a:prstGeom>
            <a:solidFill>
              <a:srgbClr val="137BD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b="1" dirty="0"/>
                <a:t>KV-M365-A</a:t>
              </a: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B672CED2-3659-63EA-C47F-572549BBE5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91919" y="4230860"/>
              <a:ext cx="547243" cy="5472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2640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2568E-0150-FB2F-4220-AC3F92BCD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181413E-174B-8B98-21AF-CBF3D26D99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we do not cover, but is still important</a:t>
            </a:r>
          </a:p>
          <a:p>
            <a:r>
              <a:rPr lang="en-US" dirty="0"/>
              <a:t>Microsoft Purview Customer Key</a:t>
            </a:r>
          </a:p>
          <a:p>
            <a:r>
              <a:rPr lang="en-US" dirty="0"/>
              <a:t>Implementing Purview Customer Key</a:t>
            </a:r>
          </a:p>
        </p:txBody>
      </p:sp>
    </p:spTree>
    <p:extLst>
      <p:ext uri="{BB962C8B-B14F-4D97-AF65-F5344CB8AC3E}">
        <p14:creationId xmlns:p14="http://schemas.microsoft.com/office/powerpoint/2010/main" val="9482892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3126358-D0BC-EC27-4954-398BA5DFD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atio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4A1C355-ED0A-966B-DB01-A167FDD0E6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new Azure AD security groups for key vault</a:t>
            </a:r>
          </a:p>
          <a:p>
            <a:pPr lvl="1"/>
            <a:r>
              <a:rPr lang="en-US" dirty="0"/>
              <a:t>Administrator + Contributors</a:t>
            </a:r>
          </a:p>
          <a:p>
            <a:r>
              <a:rPr lang="en-US" dirty="0"/>
              <a:t>Create two new Azure subscriptions</a:t>
            </a:r>
          </a:p>
          <a:p>
            <a:pPr lvl="1"/>
            <a:r>
              <a:rPr lang="en-US" dirty="0"/>
              <a:t>Separation of Azure resource group, key vault, and key  permissions</a:t>
            </a:r>
          </a:p>
          <a:p>
            <a:pPr lvl="1"/>
            <a:r>
              <a:rPr lang="en-US" dirty="0"/>
              <a:t>Use meaningful names, e.g., AZ-EGXDE-CMK-A, AZ-EGXDE-CMK-B</a:t>
            </a:r>
          </a:p>
          <a:p>
            <a:r>
              <a:rPr lang="en-US" dirty="0"/>
              <a:t>Register your tenant for Customer Key in FastTrack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661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3126358-D0BC-EC27-4954-398BA5DFD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atio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4A1C355-ED0A-966B-DB01-A167FDD0E6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a resource group per workload you want to encrypt in each Azure subscription</a:t>
            </a:r>
          </a:p>
          <a:p>
            <a:r>
              <a:rPr lang="en-US" dirty="0"/>
              <a:t>Create a key vault per resource group</a:t>
            </a:r>
          </a:p>
          <a:p>
            <a:pPr lvl="1"/>
            <a:r>
              <a:rPr lang="en-US" dirty="0"/>
              <a:t>Standard (Test, Proof-of-Concept), or Premium (Production)</a:t>
            </a:r>
          </a:p>
          <a:p>
            <a:r>
              <a:rPr lang="en-US" dirty="0"/>
              <a:t>Configuration of access permissions per key vault using previously created security groups</a:t>
            </a:r>
          </a:p>
          <a:p>
            <a:r>
              <a:rPr lang="en-US" dirty="0"/>
              <a:t>Create keys in key vaul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249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ation</a:t>
            </a:r>
          </a:p>
        </p:txBody>
      </p:sp>
      <p:pic>
        <p:nvPicPr>
          <p:cNvPr id="5" name="Grafik 4" descr="A screenshot showing Azure AD PowerShell for managing the required Azure subscriptions">
            <a:extLst>
              <a:ext uri="{FF2B5EF4-FFF2-40B4-BE49-F238E27FC236}">
                <a16:creationId xmlns:a16="http://schemas.microsoft.com/office/drawing/2014/main" id="{267DE4B7-10E8-DCF7-4424-34AD9F9C38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6616" y="1448871"/>
            <a:ext cx="9774980" cy="47222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Rechteck 5" descr="A frame highlighting the Azure subscriptions">
            <a:extLst>
              <a:ext uri="{FF2B5EF4-FFF2-40B4-BE49-F238E27FC236}">
                <a16:creationId xmlns:a16="http://schemas.microsoft.com/office/drawing/2014/main" id="{93AD15F8-D03E-F5FF-7540-7CCFEE3B2402}"/>
              </a:ext>
            </a:extLst>
          </p:cNvPr>
          <p:cNvSpPr/>
          <p:nvPr/>
        </p:nvSpPr>
        <p:spPr>
          <a:xfrm>
            <a:off x="1306034" y="3393179"/>
            <a:ext cx="7645461" cy="1359817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 descr="A frame highighting the Azure context">
            <a:extLst>
              <a:ext uri="{FF2B5EF4-FFF2-40B4-BE49-F238E27FC236}">
                <a16:creationId xmlns:a16="http://schemas.microsoft.com/office/drawing/2014/main" id="{3A3F8B80-F260-051A-98A9-186111AE7152}"/>
              </a:ext>
            </a:extLst>
          </p:cNvPr>
          <p:cNvSpPr/>
          <p:nvPr/>
        </p:nvSpPr>
        <p:spPr>
          <a:xfrm>
            <a:off x="1306034" y="4957011"/>
            <a:ext cx="6461554" cy="314145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829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Track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15DD2B-5AC8-3DCE-47EE-D42FC8A75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591616" y="1765309"/>
            <a:ext cx="8938429" cy="3717472"/>
            <a:chOff x="1591616" y="1765309"/>
            <a:chExt cx="8938429" cy="3717472"/>
          </a:xfrm>
        </p:grpSpPr>
        <p:pic>
          <p:nvPicPr>
            <p:cNvPr id="9" name="Grafik 8" descr="Screen shoot fo Microsoft FastTrack homepage">
              <a:extLst>
                <a:ext uri="{FF2B5EF4-FFF2-40B4-BE49-F238E27FC236}">
                  <a16:creationId xmlns:a16="http://schemas.microsoft.com/office/drawing/2014/main" id="{0FFA5D2C-CCE7-0ED0-0C9D-E0C54F67E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661954" y="1765309"/>
              <a:ext cx="8868091" cy="332738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2A7AA21-E161-FFE9-7D8A-86A494414FFD}"/>
                </a:ext>
              </a:extLst>
            </p:cNvPr>
            <p:cNvSpPr txBox="1"/>
            <p:nvPr/>
          </p:nvSpPr>
          <p:spPr>
            <a:xfrm>
              <a:off x="1591616" y="5113449"/>
              <a:ext cx="372396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b="1" dirty="0">
                  <a:solidFill>
                    <a:schemeClr val="accent1"/>
                  </a:solidFill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fasttrack.microsoft.com</a:t>
              </a:r>
              <a:r>
                <a:rPr lang="de-DE" b="1" dirty="0">
                  <a:solidFill>
                    <a:schemeClr val="accent1"/>
                  </a:solidFill>
                </a:rPr>
                <a:t> </a:t>
              </a:r>
            </a:p>
          </p:txBody>
        </p:sp>
      </p:grpSp>
      <p:pic>
        <p:nvPicPr>
          <p:cNvPr id="11" name="Grafik 10" descr="Screenshot showing an Azure AD consent request for Microsoft FastTrack">
            <a:extLst>
              <a:ext uri="{FF2B5EF4-FFF2-40B4-BE49-F238E27FC236}">
                <a16:creationId xmlns:a16="http://schemas.microsoft.com/office/drawing/2014/main" id="{79AFEC00-CDD5-1535-30F5-B9DB80FE4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7597" y="2451353"/>
            <a:ext cx="3169566" cy="37602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Rechteck 6" descr="A frame highlighting the Azure subscriptions">
            <a:extLst>
              <a:ext uri="{FF2B5EF4-FFF2-40B4-BE49-F238E27FC236}">
                <a16:creationId xmlns:a16="http://schemas.microsoft.com/office/drawing/2014/main" id="{BB92BE25-ABD7-A0B4-3929-E45783F4447D}"/>
              </a:ext>
            </a:extLst>
          </p:cNvPr>
          <p:cNvSpPr/>
          <p:nvPr/>
        </p:nvSpPr>
        <p:spPr>
          <a:xfrm>
            <a:off x="5877597" y="2451353"/>
            <a:ext cx="3169566" cy="3760258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825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Track</a:t>
            </a:r>
          </a:p>
        </p:txBody>
      </p:sp>
      <p:pic>
        <p:nvPicPr>
          <p:cNvPr id="7" name="Grafik 6" descr="Screenshot showing initial FastTrack registration ">
            <a:extLst>
              <a:ext uri="{FF2B5EF4-FFF2-40B4-BE49-F238E27FC236}">
                <a16:creationId xmlns:a16="http://schemas.microsoft.com/office/drawing/2014/main" id="{5D3D1E64-6BCC-A893-F4A0-E56EEBB72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6718" y="1358499"/>
            <a:ext cx="6878563" cy="51343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Rechteck 11" descr="A frame highlighting the Azure subscriptions">
            <a:extLst>
              <a:ext uri="{FF2B5EF4-FFF2-40B4-BE49-F238E27FC236}">
                <a16:creationId xmlns:a16="http://schemas.microsoft.com/office/drawing/2014/main" id="{593BD0D7-2867-B781-06F5-FF84080DCF86}"/>
              </a:ext>
            </a:extLst>
          </p:cNvPr>
          <p:cNvSpPr/>
          <p:nvPr/>
        </p:nvSpPr>
        <p:spPr>
          <a:xfrm>
            <a:off x="2656719" y="1690688"/>
            <a:ext cx="5401432" cy="3681411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37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Track</a:t>
            </a:r>
          </a:p>
        </p:txBody>
      </p:sp>
      <p:pic>
        <p:nvPicPr>
          <p:cNvPr id="5" name="Grafik 4" descr="Screenshot showing the Deploy section of FastTrack">
            <a:extLst>
              <a:ext uri="{FF2B5EF4-FFF2-40B4-BE49-F238E27FC236}">
                <a16:creationId xmlns:a16="http://schemas.microsoft.com/office/drawing/2014/main" id="{3BE8633B-3C4C-8144-BA4E-03BDE6A2F9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8569" y="1513707"/>
            <a:ext cx="8974807" cy="46451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Rechteck 5" descr="A frame surrounding the three customer key options in FastTrack">
            <a:extLst>
              <a:ext uri="{FF2B5EF4-FFF2-40B4-BE49-F238E27FC236}">
                <a16:creationId xmlns:a16="http://schemas.microsoft.com/office/drawing/2014/main" id="{16D76891-238B-257D-9A2E-DAD90FA0682F}"/>
              </a:ext>
            </a:extLst>
          </p:cNvPr>
          <p:cNvSpPr/>
          <p:nvPr/>
        </p:nvSpPr>
        <p:spPr>
          <a:xfrm>
            <a:off x="1701195" y="4454013"/>
            <a:ext cx="8982181" cy="1437968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 descr="A frame surrounding the Deploy ,menu option">
            <a:extLst>
              <a:ext uri="{FF2B5EF4-FFF2-40B4-BE49-F238E27FC236}">
                <a16:creationId xmlns:a16="http://schemas.microsoft.com/office/drawing/2014/main" id="{4ACC2F18-3A7A-7216-6735-DFBA09157B6D}"/>
              </a:ext>
            </a:extLst>
          </p:cNvPr>
          <p:cNvSpPr/>
          <p:nvPr/>
        </p:nvSpPr>
        <p:spPr>
          <a:xfrm>
            <a:off x="2666704" y="1740795"/>
            <a:ext cx="398044" cy="313193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272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Track</a:t>
            </a:r>
          </a:p>
        </p:txBody>
      </p:sp>
      <p:pic>
        <p:nvPicPr>
          <p:cNvPr id="7" name="Grafik 6" descr="A screenshot showing the customer key request table.">
            <a:extLst>
              <a:ext uri="{FF2B5EF4-FFF2-40B4-BE49-F238E27FC236}">
                <a16:creationId xmlns:a16="http://schemas.microsoft.com/office/drawing/2014/main" id="{C396B965-3C24-D899-52CF-9DEED9C1E9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1172" y="366814"/>
            <a:ext cx="4418738" cy="6392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Rechteck 8" descr="A frame highlighting the three customer key option in the table">
            <a:extLst>
              <a:ext uri="{FF2B5EF4-FFF2-40B4-BE49-F238E27FC236}">
                <a16:creationId xmlns:a16="http://schemas.microsoft.com/office/drawing/2014/main" id="{CBD1C6E2-A7F8-1773-0BFD-126429FB952B}"/>
              </a:ext>
            </a:extLst>
          </p:cNvPr>
          <p:cNvSpPr/>
          <p:nvPr/>
        </p:nvSpPr>
        <p:spPr>
          <a:xfrm>
            <a:off x="4331172" y="1066092"/>
            <a:ext cx="4310861" cy="1203368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 descr="A frame highlighting the section requestion Azure subscription IDs">
            <a:extLst>
              <a:ext uri="{FF2B5EF4-FFF2-40B4-BE49-F238E27FC236}">
                <a16:creationId xmlns:a16="http://schemas.microsoft.com/office/drawing/2014/main" id="{5A1D25B8-50A4-4C76-177B-8A8D9B7565BA}"/>
              </a:ext>
            </a:extLst>
          </p:cNvPr>
          <p:cNvSpPr/>
          <p:nvPr/>
        </p:nvSpPr>
        <p:spPr>
          <a:xfrm>
            <a:off x="4331172" y="5167576"/>
            <a:ext cx="4310861" cy="1203368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3870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6AE7023-AD56-DC13-97A3-2D41C015E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Trac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9C70AC3-351A-FF74-9791-F72E5E15F9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3969" y="2335455"/>
            <a:ext cx="8004061" cy="344800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Rechteck 7" descr="A frame highlighting the three customer key option in the table">
            <a:extLst>
              <a:ext uri="{FF2B5EF4-FFF2-40B4-BE49-F238E27FC236}">
                <a16:creationId xmlns:a16="http://schemas.microsoft.com/office/drawing/2014/main" id="{4BAE21CC-0EE8-7EE4-C8B9-EA1C0D3F8E84}"/>
              </a:ext>
            </a:extLst>
          </p:cNvPr>
          <p:cNvSpPr/>
          <p:nvPr/>
        </p:nvSpPr>
        <p:spPr>
          <a:xfrm>
            <a:off x="2093968" y="4287379"/>
            <a:ext cx="8004061" cy="892674"/>
          </a:xfrm>
          <a:prstGeom prst="rect">
            <a:avLst/>
          </a:prstGeom>
          <a:noFill/>
          <a:ln w="38100">
            <a:solidFill>
              <a:srgbClr val="59E6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8591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BD4A6B4-6368-C2DB-40F8-1759652DE9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Use your Purview Customer Key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915B47D-7832-D55B-8B70-7951123E3A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ta Encryption Policies</a:t>
            </a:r>
          </a:p>
        </p:txBody>
      </p:sp>
    </p:spTree>
    <p:extLst>
      <p:ext uri="{BB962C8B-B14F-4D97-AF65-F5344CB8AC3E}">
        <p14:creationId xmlns:p14="http://schemas.microsoft.com/office/powerpoint/2010/main" val="35561326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7F66184-013A-669E-3D5E-E9EA6C401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ncryption Policy Managemen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C653C24-F840-12ED-9EB1-C613C5617F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icrosoft 365 Data-at-Rest and Exchange Online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Exchange Online Management v2 PowerShell Module </a:t>
            </a:r>
            <a:endParaRPr lang="en-US" sz="1400" b="1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SharePoint Online</a:t>
            </a: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SharePoint Online PowerShell Module</a:t>
            </a:r>
          </a:p>
        </p:txBody>
      </p:sp>
    </p:spTree>
    <p:extLst>
      <p:ext uri="{BB962C8B-B14F-4D97-AF65-F5344CB8AC3E}">
        <p14:creationId xmlns:p14="http://schemas.microsoft.com/office/powerpoint/2010/main" val="980205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BD4A6B4-6368-C2DB-40F8-1759652DE9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But is still important to know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915B47D-7832-D55B-8B70-7951123E3A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hat do we not cover</a:t>
            </a:r>
          </a:p>
        </p:txBody>
      </p:sp>
    </p:spTree>
    <p:extLst>
      <p:ext uri="{BB962C8B-B14F-4D97-AF65-F5344CB8AC3E}">
        <p14:creationId xmlns:p14="http://schemas.microsoft.com/office/powerpoint/2010/main" val="41487861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-Workload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1 = 'https:/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-kv-egxde-m365dr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.vault.azure.net:443/keys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-m365dr-key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2 = 'https:/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-kv-egxde-m365dr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.vault.azure.net:443/keys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-m365dr-key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Create new multi-workload data encryption policy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New-M365DataAtRestEncryptionPolicy -Name '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_DataAtRest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`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KeyID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$key1,$key2 -Description '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 Data at Rest Multi-Workload 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Assign multi-workload data encryption policy at tenant level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et-M365DataAtRestEncryptionPolicyAssignment `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_DataAtRest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  <a:p>
            <a:pPr marL="0" indent="0">
              <a:buNone/>
            </a:pP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5036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-Workload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Get-M365DataAtRestEncryptionPolicyAssignment |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sDeleted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: False</a:t>
            </a:r>
          </a:p>
          <a:p>
            <a:pPr marL="0" indent="0">
              <a:buNone/>
            </a:pP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        : CN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_DataAtRest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Parent                   : egxde.onmicrosoft.com\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KaaS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ata Encryption Policies</a:t>
            </a:r>
          </a:p>
          <a:p>
            <a:pPr marL="0" indent="0">
              <a:buNone/>
            </a:pP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stinguished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: CN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_DataAtRest,C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Kaa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Data Encryption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olicies,C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figuration,C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de.onmicrosoft.com,C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figurationUnits,DC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=DEUP281A001,DC=PROD,DC=OUTLOOK,DC=COM</a:t>
            </a:r>
          </a:p>
          <a:p>
            <a:pPr marL="0" indent="0">
              <a:buNone/>
            </a:pP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sRelativeD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: False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Name                     :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_DataAtRest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601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Onli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Set encryption key URI variables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1 = 'https:/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-kv-egxde-exo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.vault.azure.net:443/keys/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o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key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2 = 'https://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-kv-egxde-exo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.vault.azure.net:443/keys/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o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key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Create new Exchange Online data encryption policy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New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Name '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_EXO_DEP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`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ureKeyID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$key1,$key2 `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Description '</a:t>
            </a:r>
            <a:r>
              <a:rPr lang="en-US" sz="1600" b="1" dirty="0">
                <a:solidFill>
                  <a:srgbClr val="137BD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 Exchange Online Encryption 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</p:txBody>
      </p:sp>
    </p:spTree>
    <p:extLst>
      <p:ext uri="{BB962C8B-B14F-4D97-AF65-F5344CB8AC3E}">
        <p14:creationId xmlns:p14="http://schemas.microsoft.com/office/powerpoint/2010/main" val="345391680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hange Onli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Assign Exchange Online DEP to different objects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-Mailbox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ouisR@varunagroup.de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EGX_EXO_DEP'  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-Mailbox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ouisR@varunagroup.de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EGX_EXO_DEP' 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ublicFolder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lUser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OnPremUser@varunagroup.de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EGX_EXO_DEP'   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UnifiedGroup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SomeGroup@groups.varunagroup.de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EGX_EXO_DEP'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Verification for mailbox user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ilboxStatistic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USERUPN | FL 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Encrypted</a:t>
            </a:r>
            <a:endParaRPr lang="en-US" sz="1600" b="1" dirty="0">
              <a:solidFill>
                <a:schemeClr val="accent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1053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Point Onli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PowerShell Module: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Microsoft.Online.SharePoint.PowerShell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Connec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Servic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Url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tps://tenant-admin.sharepoint.com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Query Azure key vault key versions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Context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–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bscriptionId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CRIPTION-A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1version = (Ge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KeyVaultKe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ult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kv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a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Name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key-a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cludeVersion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ersion</a:t>
            </a:r>
          </a:p>
          <a:p>
            <a:pPr marL="0" indent="0">
              <a:buNone/>
            </a:pP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e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Context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–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ubscriptionId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UBSCRIPTION-B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$key2version = (Ge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KeyVaultKe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ault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kv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b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-Name 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key-b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cludeVersions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).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18532635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A02DD3E-CC53-C647-25B8-3FC205BCA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Point Onli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352774-C23C-0758-2F08-D29CFBCEA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Create SharePoint Online data encryption policy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Register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DataEncryptionPolicy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maryKeyVault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v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maryKey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key-a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imaryKeyVersio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$key1version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condaryKeyVault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z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kv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condaryKeyName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'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gxde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o</a:t>
            </a:r>
            <a:r>
              <a:rPr lang="en-US" sz="1600" b="1" dirty="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key-b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' `</a:t>
            </a:r>
            <a:b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condaryKeyVersion</a:t>
            </a: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$key2version </a:t>
            </a:r>
          </a:p>
          <a:p>
            <a:pPr marL="0" indent="0">
              <a:buNone/>
            </a:pP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# Verify encryption policy  </a:t>
            </a:r>
          </a:p>
          <a:p>
            <a:pPr marL="0" indent="0">
              <a:buNone/>
            </a:pPr>
            <a:r>
              <a:rPr lang="en-US" sz="1600" b="1" dirty="0">
                <a:latin typeface="Courier New" panose="02070309020205020404" pitchFamily="49" charset="0"/>
                <a:cs typeface="Courier New" panose="02070309020205020404" pitchFamily="49" charset="0"/>
              </a:rPr>
              <a:t>Get-</a:t>
            </a:r>
            <a:r>
              <a:rPr lang="en-US" sz="1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PODataEncryptionPolicy</a:t>
            </a:r>
            <a:endParaRPr lang="en-US" sz="1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46704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1B228-45E7-E9AE-3584-1EF02C0BF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1316D9-C30C-6C52-4CD8-960C06F98F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95174"/>
            <a:ext cx="12192000" cy="17628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54D0712-3C9F-A435-2D37-4C8A80C5A7EF}"/>
              </a:ext>
            </a:extLst>
          </p:cNvPr>
          <p:cNvSpPr/>
          <p:nvPr/>
        </p:nvSpPr>
        <p:spPr>
          <a:xfrm>
            <a:off x="10716768" y="5352288"/>
            <a:ext cx="1182624" cy="329184"/>
          </a:xfrm>
          <a:prstGeom prst="rect">
            <a:avLst/>
          </a:prstGeom>
          <a:solidFill>
            <a:srgbClr val="253B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E47603-1DC8-614F-21D9-DE9CF2D9CA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426" y="5387972"/>
            <a:ext cx="1182624" cy="253524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33C0BA0-7503-3C14-315A-73B22FD8C269}"/>
              </a:ext>
            </a:extLst>
          </p:cNvPr>
          <p:cNvGrpSpPr/>
          <p:nvPr/>
        </p:nvGrpSpPr>
        <p:grpSpPr>
          <a:xfrm>
            <a:off x="838200" y="4368266"/>
            <a:ext cx="5083834" cy="2292935"/>
            <a:chOff x="740720" y="4134334"/>
            <a:chExt cx="5083834" cy="2292935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50A7640-87D1-AB88-7F2D-8F84CD698FCC}"/>
                </a:ext>
              </a:extLst>
            </p:cNvPr>
            <p:cNvSpPr/>
            <p:nvPr/>
          </p:nvSpPr>
          <p:spPr>
            <a:xfrm>
              <a:off x="740720" y="4134334"/>
              <a:ext cx="5083834" cy="2292935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</a:t>
              </a:r>
              <a:endParaRPr lang="en-US" sz="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3" defTabSz="932597"/>
              <a:r>
                <a:rPr lang="en-US" sz="2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Thomas Stensitzki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MVP M365 Apps &amp; Services</a:t>
              </a:r>
            </a:p>
            <a:p>
              <a:pPr lvl="3"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      CEO @ GRANIKOS</a:t>
              </a:r>
            </a:p>
            <a:p>
              <a:pPr defTabSz="932597"/>
              <a:r>
                <a:rPr lang="en-US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		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Thomas.Stensitzki@Granikos.eu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Twitter: @Stensitzki</a:t>
              </a:r>
            </a:p>
            <a:p>
              <a:pPr defTabSz="932597"/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		MVP: 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it.ly/3qxCI7t</a:t>
              </a:r>
              <a:r>
                <a:rPr lang="en-US" sz="1500" b="1" dirty="0">
                  <a:solidFill>
                    <a:schemeClr val="bg1"/>
                  </a:solidFill>
                  <a:latin typeface="Segoe UI Light"/>
                </a:rPr>
                <a:t> </a:t>
              </a:r>
            </a:p>
            <a:p>
              <a:pPr defTabSz="932597"/>
              <a:endParaRPr lang="en-US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9ACADE8-7F9F-BD64-3F3D-097FB210B9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47910" y="4380194"/>
              <a:ext cx="1348618" cy="1348618"/>
            </a:xfrm>
            <a:prstGeom prst="rect">
              <a:avLst/>
            </a:prstGeom>
            <a:solidFill>
              <a:srgbClr val="253B5D"/>
            </a:solidFill>
            <a:effectLst>
              <a:glow rad="228600">
                <a:schemeClr val="accent5">
                  <a:satMod val="175000"/>
                  <a:alpha val="40000"/>
                </a:schemeClr>
              </a:glow>
            </a:effectLst>
          </p:spPr>
        </p:pic>
      </p:grpSp>
    </p:spTree>
    <p:extLst>
      <p:ext uri="{BB962C8B-B14F-4D97-AF65-F5344CB8AC3E}">
        <p14:creationId xmlns:p14="http://schemas.microsoft.com/office/powerpoint/2010/main" val="29362390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2B6D97-CBB1-41B0-F1F3-0A5BA4A24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ourc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B7D778-FDD3-A434-7E12-A3A88AABE4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Get started with exact data match based sensitive information types</a:t>
            </a:r>
            <a:r>
              <a:rPr lang="en-US" sz="2400" dirty="0"/>
              <a:t> </a:t>
            </a:r>
          </a:p>
          <a:p>
            <a:r>
              <a:rPr lang="en-US" sz="2400" dirty="0">
                <a:hlinkClick r:id="rId4"/>
              </a:rPr>
              <a:t>Understanding Microsoft Information Protection Encryption Key Types</a:t>
            </a:r>
            <a:endParaRPr lang="en-US" sz="2400" dirty="0"/>
          </a:p>
          <a:p>
            <a:r>
              <a:rPr lang="en-US" sz="2400" dirty="0">
                <a:hlinkClick r:id="rId5"/>
              </a:rPr>
              <a:t>Roll or rotate a Customer Key or an availability key</a:t>
            </a:r>
            <a:endParaRPr lang="en-US" sz="2400" dirty="0"/>
          </a:p>
          <a:p>
            <a:r>
              <a:rPr lang="en-US" sz="2400" dirty="0">
                <a:hlinkClick r:id="rId6"/>
              </a:rPr>
              <a:t>Move requests in the Microsoft 365 or Office 365 service</a:t>
            </a:r>
            <a:r>
              <a:rPr lang="en-US" sz="2400" dirty="0"/>
              <a:t> </a:t>
            </a:r>
          </a:p>
          <a:p>
            <a:r>
              <a:rPr lang="en-US" sz="2400" dirty="0">
                <a:hlinkClick r:id="rId7"/>
              </a:rPr>
              <a:t>Encryption ciphers used by Customer Key</a:t>
            </a:r>
            <a:r>
              <a:rPr lang="en-US" sz="2400" dirty="0"/>
              <a:t> </a:t>
            </a:r>
          </a:p>
          <a:p>
            <a:r>
              <a:rPr lang="en-US" sz="2400" dirty="0">
                <a:hlinkClick r:id="rId8"/>
              </a:rPr>
              <a:t>Encryption for Skype for Business, OneDrive for Business, SharePoint Online, Microsoft Teams, and Exchange Online</a:t>
            </a: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174240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2B6D97-CBB1-41B0-F1F3-0A5BA4A24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ource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B7D778-FDD3-A434-7E12-A3A88AABE4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Microsoft 365 Multi-Geo eDiscovery configuration</a:t>
            </a:r>
            <a:r>
              <a:rPr lang="en-US" sz="2400" dirty="0"/>
              <a:t> </a:t>
            </a:r>
          </a:p>
          <a:p>
            <a:r>
              <a:rPr lang="en-US" sz="2400" dirty="0">
                <a:hlinkClick r:id="rId4"/>
              </a:rPr>
              <a:t>Microsoft 365 encryption technical reference</a:t>
            </a:r>
            <a:endParaRPr lang="en-US" sz="2400" dirty="0"/>
          </a:p>
          <a:p>
            <a:r>
              <a:rPr lang="en-US" sz="2400" dirty="0">
                <a:hlinkClick r:id="rId5"/>
              </a:rPr>
              <a:t>Assign roles in Azure Portal</a:t>
            </a:r>
            <a:r>
              <a:rPr lang="en-US" sz="2400" dirty="0"/>
              <a:t> </a:t>
            </a:r>
          </a:p>
          <a:p>
            <a:r>
              <a:rPr lang="en-US" sz="2400" dirty="0">
                <a:hlinkClick r:id="rId6"/>
              </a:rPr>
              <a:t>Microsoft 365 Maps</a:t>
            </a:r>
            <a:endParaRPr lang="en-US" sz="2400" dirty="0"/>
          </a:p>
          <a:p>
            <a:r>
              <a:rPr lang="en-US" sz="2400" dirty="0">
                <a:hlinkClick r:id="rId7"/>
              </a:rPr>
              <a:t>Double Key Encryption</a:t>
            </a: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62674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644EA91D-4F9B-6250-61EC-4CDF98A49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LS Transport encryption</a:t>
            </a:r>
          </a:p>
        </p:txBody>
      </p:sp>
      <p:grpSp>
        <p:nvGrpSpPr>
          <p:cNvPr id="22" name="Gruppieren 21" descr="Diagram showing transport encryption connections between customer (client) and Microsoft data centers on the left and between data center servers on the right.">
            <a:extLst>
              <a:ext uri="{FF2B5EF4-FFF2-40B4-BE49-F238E27FC236}">
                <a16:creationId xmlns:a16="http://schemas.microsoft.com/office/drawing/2014/main" id="{5BC1B65F-E8A0-35CB-B8A5-184B5E7C3A20}"/>
              </a:ext>
            </a:extLst>
          </p:cNvPr>
          <p:cNvGrpSpPr/>
          <p:nvPr/>
        </p:nvGrpSpPr>
        <p:grpSpPr>
          <a:xfrm>
            <a:off x="1092200" y="4468744"/>
            <a:ext cx="4754547" cy="841644"/>
            <a:chOff x="1636728" y="3580102"/>
            <a:chExt cx="4754547" cy="841644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3D5A3BDD-ADBF-4913-5B8A-C99E7B8E5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36728" y="3580102"/>
              <a:ext cx="679450" cy="730250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7F4B2645-7AEC-96A2-E175-14BCC9CA1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38991" y="4095481"/>
              <a:ext cx="507087" cy="326265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938DAD04-A93A-CA75-750C-5B1475BC4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</a:blip>
            <a:stretch>
              <a:fillRect/>
            </a:stretch>
          </p:blipFill>
          <p:spPr>
            <a:xfrm>
              <a:off x="3762877" y="3689138"/>
              <a:ext cx="718970" cy="683898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294D3761-1F3D-C0EE-E8D7-92F2A1174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00725" y="3665962"/>
              <a:ext cx="590550" cy="730250"/>
            </a:xfrm>
            <a:prstGeom prst="rect">
              <a:avLst/>
            </a:prstGeom>
          </p:spPr>
        </p:pic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A637C0B6-0FF7-2093-9B63-40D61E04F1FC}"/>
                </a:ext>
              </a:extLst>
            </p:cNvPr>
            <p:cNvCxnSpPr/>
            <p:nvPr/>
          </p:nvCxnSpPr>
          <p:spPr>
            <a:xfrm>
              <a:off x="4481847" y="4034118"/>
              <a:ext cx="119036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F18B35D4-BA17-AD63-E8A3-3DCE30C2559B}"/>
                </a:ext>
              </a:extLst>
            </p:cNvPr>
            <p:cNvCxnSpPr/>
            <p:nvPr/>
          </p:nvCxnSpPr>
          <p:spPr>
            <a:xfrm>
              <a:off x="2446078" y="4034118"/>
              <a:ext cx="1190367" cy="0"/>
            </a:xfrm>
            <a:prstGeom prst="straightConnector1">
              <a:avLst/>
            </a:prstGeom>
            <a:ln>
              <a:headEnd type="triangl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409921A9-7B14-AF76-561B-4F9B54CFD263}"/>
              </a:ext>
            </a:extLst>
          </p:cNvPr>
          <p:cNvSpPr txBox="1"/>
          <p:nvPr/>
        </p:nvSpPr>
        <p:spPr>
          <a:xfrm>
            <a:off x="1092199" y="3474648"/>
            <a:ext cx="4259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3867"/>
                </a:solidFill>
              </a:rPr>
              <a:t>Between customer and data cent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21E56D5-D8A4-9512-962C-56AEB9424BD1}"/>
              </a:ext>
            </a:extLst>
          </p:cNvPr>
          <p:cNvSpPr txBox="1"/>
          <p:nvPr/>
        </p:nvSpPr>
        <p:spPr>
          <a:xfrm>
            <a:off x="6251509" y="3476795"/>
            <a:ext cx="36360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rgbClr val="003867"/>
                </a:solidFill>
              </a:rPr>
              <a:t>Between servers in data center</a:t>
            </a:r>
          </a:p>
        </p:txBody>
      </p:sp>
      <p:grpSp>
        <p:nvGrpSpPr>
          <p:cNvPr id="31" name="Gruppieren 30" descr="Diagram showing transport encryption connections between customer (client) and Microsoft data centers on the left and between data center servers on the right.">
            <a:extLst>
              <a:ext uri="{FF2B5EF4-FFF2-40B4-BE49-F238E27FC236}">
                <a16:creationId xmlns:a16="http://schemas.microsoft.com/office/drawing/2014/main" id="{98A30BF2-9995-3B8F-3D2B-CFA53989B0A3}"/>
              </a:ext>
            </a:extLst>
          </p:cNvPr>
          <p:cNvGrpSpPr/>
          <p:nvPr/>
        </p:nvGrpSpPr>
        <p:grpSpPr>
          <a:xfrm>
            <a:off x="5942444" y="4554604"/>
            <a:ext cx="3945106" cy="730250"/>
            <a:chOff x="6486972" y="3665962"/>
            <a:chExt cx="3945106" cy="730250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F06584-87B8-EDB6-6CAE-8F81757309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41528" y="3665962"/>
              <a:ext cx="590550" cy="730250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88BABC67-8D16-05F1-D8B3-A7364A50F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</a:blip>
            <a:stretch>
              <a:fillRect/>
            </a:stretch>
          </p:blipFill>
          <p:spPr>
            <a:xfrm>
              <a:off x="7803771" y="3689138"/>
              <a:ext cx="718970" cy="683898"/>
            </a:xfrm>
            <a:prstGeom prst="rect">
              <a:avLst/>
            </a:prstGeom>
          </p:spPr>
        </p:pic>
        <p:cxnSp>
          <p:nvCxnSpPr>
            <p:cNvPr id="34" name="Gerade Verbindung mit Pfeil 33">
              <a:extLst>
                <a:ext uri="{FF2B5EF4-FFF2-40B4-BE49-F238E27FC236}">
                  <a16:creationId xmlns:a16="http://schemas.microsoft.com/office/drawing/2014/main" id="{32CB84C6-A253-2B62-475A-481034742323}"/>
                </a:ext>
              </a:extLst>
            </p:cNvPr>
            <p:cNvCxnSpPr/>
            <p:nvPr/>
          </p:nvCxnSpPr>
          <p:spPr>
            <a:xfrm>
              <a:off x="8522741" y="4034118"/>
              <a:ext cx="119036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>
              <a:extLst>
                <a:ext uri="{FF2B5EF4-FFF2-40B4-BE49-F238E27FC236}">
                  <a16:creationId xmlns:a16="http://schemas.microsoft.com/office/drawing/2014/main" id="{1275B0AD-EE15-8A3B-A8CC-6604D99DA99E}"/>
                </a:ext>
              </a:extLst>
            </p:cNvPr>
            <p:cNvCxnSpPr/>
            <p:nvPr/>
          </p:nvCxnSpPr>
          <p:spPr>
            <a:xfrm>
              <a:off x="6486972" y="4034118"/>
              <a:ext cx="1190367" cy="0"/>
            </a:xfrm>
            <a:prstGeom prst="straightConnector1">
              <a:avLst/>
            </a:prstGeom>
            <a:ln>
              <a:headEnd type="triangl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14741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BAE032-F22A-D341-F1DE-34C79E21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encryption technologi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8E4E0D-3AFE-55C1-C4A9-8C8BF71A81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zure encryption options</a:t>
            </a:r>
          </a:p>
          <a:p>
            <a:pPr lvl="1"/>
            <a:r>
              <a:rPr lang="en-US" dirty="0"/>
              <a:t>Blob, SQL DB, Cosmos DB, Data Lake etc.</a:t>
            </a:r>
          </a:p>
          <a:p>
            <a:r>
              <a:rPr lang="en-US" dirty="0"/>
              <a:t>S/MIME message encryption</a:t>
            </a:r>
          </a:p>
          <a:p>
            <a:r>
              <a:rPr lang="en-US" dirty="0"/>
              <a:t>Microsoft Purview Message Encryption aka Office 365 Message Encryption (OME)</a:t>
            </a:r>
          </a:p>
          <a:p>
            <a:r>
              <a:rPr lang="en-US" dirty="0"/>
              <a:t>Sensitivity Label-based encryp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47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C8EADF6-ACF1-957D-6C31-3315D88D3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365 Encryption</a:t>
            </a:r>
          </a:p>
        </p:txBody>
      </p:sp>
      <p:sp>
        <p:nvSpPr>
          <p:cNvPr id="5" name="Network">
            <a:extLst>
              <a:ext uri="{FF2B5EF4-FFF2-40B4-BE49-F238E27FC236}">
                <a16:creationId xmlns:a16="http://schemas.microsoft.com/office/drawing/2014/main" id="{D7E0D6E4-A152-124E-2CA4-EC4EDFD48BBE}"/>
              </a:ext>
            </a:extLst>
          </p:cNvPr>
          <p:cNvSpPr txBox="1"/>
          <p:nvPr/>
        </p:nvSpPr>
        <p:spPr>
          <a:xfrm>
            <a:off x="852746" y="2504637"/>
            <a:ext cx="1781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/>
              <a:t>Network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F47914F3-EA10-16F5-1678-C19B0CC5C2FE}"/>
              </a:ext>
            </a:extLst>
          </p:cNvPr>
          <p:cNvSpPr txBox="1"/>
          <p:nvPr/>
        </p:nvSpPr>
        <p:spPr>
          <a:xfrm>
            <a:off x="3632690" y="2504636"/>
            <a:ext cx="1781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/>
              <a:t>Content</a:t>
            </a:r>
          </a:p>
        </p:txBody>
      </p:sp>
      <p:sp>
        <p:nvSpPr>
          <p:cNvPr id="7" name="Hardware">
            <a:extLst>
              <a:ext uri="{FF2B5EF4-FFF2-40B4-BE49-F238E27FC236}">
                <a16:creationId xmlns:a16="http://schemas.microsoft.com/office/drawing/2014/main" id="{4642FAEC-BEF8-7E78-6789-7C4E15E76C2F}"/>
              </a:ext>
            </a:extLst>
          </p:cNvPr>
          <p:cNvSpPr txBox="1"/>
          <p:nvPr/>
        </p:nvSpPr>
        <p:spPr>
          <a:xfrm>
            <a:off x="6612336" y="2504635"/>
            <a:ext cx="1781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/>
              <a:t>Hardware</a:t>
            </a:r>
          </a:p>
        </p:txBody>
      </p:sp>
      <p:sp>
        <p:nvSpPr>
          <p:cNvPr id="8" name="Applications">
            <a:extLst>
              <a:ext uri="{FF2B5EF4-FFF2-40B4-BE49-F238E27FC236}">
                <a16:creationId xmlns:a16="http://schemas.microsoft.com/office/drawing/2014/main" id="{9D588A84-606B-E8C4-74B5-62B79E440BC4}"/>
              </a:ext>
            </a:extLst>
          </p:cNvPr>
          <p:cNvSpPr txBox="1"/>
          <p:nvPr/>
        </p:nvSpPr>
        <p:spPr>
          <a:xfrm>
            <a:off x="8881241" y="2504634"/>
            <a:ext cx="2722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/>
              <a:t>Applications</a:t>
            </a:r>
            <a:endParaRPr lang="de-DE" sz="1400" b="1" dirty="0"/>
          </a:p>
        </p:txBody>
      </p:sp>
      <p:pic>
        <p:nvPicPr>
          <p:cNvPr id="9" name="Network">
            <a:extLst>
              <a:ext uri="{FF2B5EF4-FFF2-40B4-BE49-F238E27FC236}">
                <a16:creationId xmlns:a16="http://schemas.microsoft.com/office/drawing/2014/main" id="{F954E984-E8C1-4289-120E-A247FA9F4C8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57492" y="3251008"/>
            <a:ext cx="711200" cy="682171"/>
          </a:xfrm>
          <a:prstGeom prst="rect">
            <a:avLst/>
          </a:prstGeom>
        </p:spPr>
      </p:pic>
      <p:grpSp>
        <p:nvGrpSpPr>
          <p:cNvPr id="10" name="Documents">
            <a:extLst>
              <a:ext uri="{FF2B5EF4-FFF2-40B4-BE49-F238E27FC236}">
                <a16:creationId xmlns:a16="http://schemas.microsoft.com/office/drawing/2014/main" id="{CDB31C50-4F19-A11F-BDE9-29FF676BFBCF}"/>
              </a:ext>
            </a:extLst>
          </p:cNvPr>
          <p:cNvGrpSpPr/>
          <p:nvPr/>
        </p:nvGrpSpPr>
        <p:grpSpPr>
          <a:xfrm>
            <a:off x="4090267" y="2955156"/>
            <a:ext cx="496426" cy="642445"/>
            <a:chOff x="3106586" y="2345994"/>
            <a:chExt cx="496426" cy="642445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BD37299-2AC3-E6A5-E3C8-8D2028292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06586" y="2345994"/>
              <a:ext cx="396000" cy="451512"/>
            </a:xfrm>
            <a:prstGeom prst="rect">
              <a:avLst/>
            </a:prstGeom>
          </p:spPr>
        </p:pic>
        <p:pic>
          <p:nvPicPr>
            <p:cNvPr id="12" name="Grafik 11" descr="Sperren mit einfarbiger Füllung">
              <a:extLst>
                <a:ext uri="{FF2B5EF4-FFF2-40B4-BE49-F238E27FC236}">
                  <a16:creationId xmlns:a16="http://schemas.microsoft.com/office/drawing/2014/main" id="{5F6513A9-026C-CBE3-1821-47A7176A4D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263288" y="2648715"/>
              <a:ext cx="339724" cy="339724"/>
            </a:xfrm>
            <a:prstGeom prst="rect">
              <a:avLst/>
            </a:prstGeom>
          </p:spPr>
        </p:pic>
      </p:grpSp>
      <p:grpSp>
        <p:nvGrpSpPr>
          <p:cNvPr id="13" name="Emails">
            <a:extLst>
              <a:ext uri="{FF2B5EF4-FFF2-40B4-BE49-F238E27FC236}">
                <a16:creationId xmlns:a16="http://schemas.microsoft.com/office/drawing/2014/main" id="{D336F47B-E697-9836-18D0-FAC036B10A94}"/>
              </a:ext>
            </a:extLst>
          </p:cNvPr>
          <p:cNvGrpSpPr/>
          <p:nvPr/>
        </p:nvGrpSpPr>
        <p:grpSpPr>
          <a:xfrm>
            <a:off x="4602567" y="3429838"/>
            <a:ext cx="501689" cy="512299"/>
            <a:chOff x="3618886" y="2820676"/>
            <a:chExt cx="501689" cy="512299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7037884-E7CC-60E2-7035-BEFB2FFFE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18886" y="2820676"/>
              <a:ext cx="396000" cy="319708"/>
            </a:xfrm>
            <a:prstGeom prst="rect">
              <a:avLst/>
            </a:prstGeom>
          </p:spPr>
        </p:pic>
        <p:pic>
          <p:nvPicPr>
            <p:cNvPr id="15" name="Grafik 14" descr="Sperren mit einfarbiger Füllung">
              <a:extLst>
                <a:ext uri="{FF2B5EF4-FFF2-40B4-BE49-F238E27FC236}">
                  <a16:creationId xmlns:a16="http://schemas.microsoft.com/office/drawing/2014/main" id="{130E61D8-0AD9-8F97-1EF1-405052A7D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80851" y="2993251"/>
              <a:ext cx="339724" cy="339724"/>
            </a:xfrm>
            <a:prstGeom prst="rect">
              <a:avLst/>
            </a:prstGeom>
          </p:spPr>
        </p:pic>
      </p:grpSp>
      <p:grpSp>
        <p:nvGrpSpPr>
          <p:cNvPr id="16" name="Servers">
            <a:extLst>
              <a:ext uri="{FF2B5EF4-FFF2-40B4-BE49-F238E27FC236}">
                <a16:creationId xmlns:a16="http://schemas.microsoft.com/office/drawing/2014/main" id="{DFEC0262-63D1-596E-ED46-4C0404EAF722}"/>
              </a:ext>
            </a:extLst>
          </p:cNvPr>
          <p:cNvGrpSpPr/>
          <p:nvPr/>
        </p:nvGrpSpPr>
        <p:grpSpPr>
          <a:xfrm>
            <a:off x="6939414" y="3072754"/>
            <a:ext cx="1219270" cy="844550"/>
            <a:chOff x="4991100" y="2276475"/>
            <a:chExt cx="1219270" cy="844550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F4CAC3BE-D269-4F2B-14DE-D6D5636AF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91100" y="2276475"/>
              <a:ext cx="717550" cy="84455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3639CBA0-C9AC-B2C8-65C6-3C4084E9D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40399" y="2343149"/>
              <a:ext cx="219111" cy="255630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3F06F011-CE9E-C5BA-E803-43FC41568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80607" y="2343149"/>
              <a:ext cx="219111" cy="25563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F454A276-5F46-B44B-0F42-13B2F123F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40399" y="2625703"/>
              <a:ext cx="219111" cy="255630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80F5D9D-95EB-4929-4DE0-2695352EB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91259" y="2625703"/>
              <a:ext cx="219111" cy="255630"/>
            </a:xfrm>
            <a:prstGeom prst="rect">
              <a:avLst/>
            </a:prstGeom>
          </p:spPr>
        </p:pic>
      </p:grpSp>
      <p:grpSp>
        <p:nvGrpSpPr>
          <p:cNvPr id="22" name="EXO">
            <a:extLst>
              <a:ext uri="{FF2B5EF4-FFF2-40B4-BE49-F238E27FC236}">
                <a16:creationId xmlns:a16="http://schemas.microsoft.com/office/drawing/2014/main" id="{7FAEC8C2-C12D-FEA1-215F-1C7435D3A689}"/>
              </a:ext>
            </a:extLst>
          </p:cNvPr>
          <p:cNvGrpSpPr/>
          <p:nvPr/>
        </p:nvGrpSpPr>
        <p:grpSpPr>
          <a:xfrm>
            <a:off x="9024424" y="2955156"/>
            <a:ext cx="901700" cy="1090884"/>
            <a:chOff x="6905627" y="2345994"/>
            <a:chExt cx="901700" cy="1090884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883A69CE-2203-6A3C-B0D8-2E9254F6675E}"/>
                </a:ext>
              </a:extLst>
            </p:cNvPr>
            <p:cNvSpPr/>
            <p:nvPr/>
          </p:nvSpPr>
          <p:spPr>
            <a:xfrm>
              <a:off x="6905627" y="2571750"/>
              <a:ext cx="901700" cy="865128"/>
            </a:xfrm>
            <a:prstGeom prst="ellipse">
              <a:avLst/>
            </a:prstGeom>
            <a:ln w="9525">
              <a:solidFill>
                <a:srgbClr val="137BD1"/>
              </a:solidFill>
              <a:prstDash val="sysDot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5F7EB4E0-2ECA-BFF3-F60C-EE6675D46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030512" y="2782062"/>
              <a:ext cx="231775" cy="222250"/>
            </a:xfrm>
            <a:prstGeom prst="rect">
              <a:avLst/>
            </a:prstGeom>
          </p:spPr>
        </p:pic>
        <p:pic>
          <p:nvPicPr>
            <p:cNvPr id="25" name="Grafik 24" descr="Sperren mit einfarbiger Füllung">
              <a:extLst>
                <a:ext uri="{FF2B5EF4-FFF2-40B4-BE49-F238E27FC236}">
                  <a16:creationId xmlns:a16="http://schemas.microsoft.com/office/drawing/2014/main" id="{93ABD35A-BA68-F976-FC0C-3F1863BB5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86615" y="2345994"/>
              <a:ext cx="339724" cy="339724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15A9523D-3A59-B7FD-8492-5244DCC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387172" y="2782062"/>
              <a:ext cx="231775" cy="222250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5D0B3DF6-6BB0-CE45-CB83-0945CD02A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030512" y="3029259"/>
              <a:ext cx="231775" cy="222250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EFB7041C-1DCF-CD7D-94C4-21D957459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387171" y="3029259"/>
              <a:ext cx="231775" cy="222250"/>
            </a:xfrm>
            <a:prstGeom prst="rect">
              <a:avLst/>
            </a:prstGeom>
          </p:spPr>
        </p:pic>
      </p:grpSp>
      <p:grpSp>
        <p:nvGrpSpPr>
          <p:cNvPr id="29" name="SPO">
            <a:extLst>
              <a:ext uri="{FF2B5EF4-FFF2-40B4-BE49-F238E27FC236}">
                <a16:creationId xmlns:a16="http://schemas.microsoft.com/office/drawing/2014/main" id="{699EC203-A7D3-96DD-A7C3-5E0D1499AACF}"/>
              </a:ext>
            </a:extLst>
          </p:cNvPr>
          <p:cNvGrpSpPr/>
          <p:nvPr/>
        </p:nvGrpSpPr>
        <p:grpSpPr>
          <a:xfrm>
            <a:off x="10572579" y="2930781"/>
            <a:ext cx="901700" cy="1099384"/>
            <a:chOff x="7970309" y="2321619"/>
            <a:chExt cx="901700" cy="1099384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F52E420-F413-F846-5003-2AAB11C3010C}"/>
                </a:ext>
              </a:extLst>
            </p:cNvPr>
            <p:cNvSpPr/>
            <p:nvPr/>
          </p:nvSpPr>
          <p:spPr>
            <a:xfrm>
              <a:off x="7970309" y="2555875"/>
              <a:ext cx="901700" cy="865128"/>
            </a:xfrm>
            <a:prstGeom prst="ellipse">
              <a:avLst/>
            </a:prstGeom>
            <a:ln w="9525">
              <a:solidFill>
                <a:srgbClr val="137BD1"/>
              </a:solidFill>
              <a:prstDash val="sysDot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51FEF2B1-4855-3D2B-98FC-AAF8F24B1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070735" y="2769483"/>
              <a:ext cx="268818" cy="247408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39FE2BA9-E536-DB67-C0F7-1D4800D8A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71372" y="2756855"/>
              <a:ext cx="268818" cy="247408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046DFA16-C3CB-03BE-A915-808A6E1C2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070735" y="3007747"/>
              <a:ext cx="268818" cy="247408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FAC40E8E-3004-DA73-AF37-F123C05F3F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71372" y="3004263"/>
              <a:ext cx="268818" cy="247408"/>
            </a:xfrm>
            <a:prstGeom prst="rect">
              <a:avLst/>
            </a:prstGeom>
          </p:spPr>
        </p:pic>
        <p:pic>
          <p:nvPicPr>
            <p:cNvPr id="35" name="Grafik 34" descr="Sperren mit einfarbiger Füllung">
              <a:extLst>
                <a:ext uri="{FF2B5EF4-FFF2-40B4-BE49-F238E27FC236}">
                  <a16:creationId xmlns:a16="http://schemas.microsoft.com/office/drawing/2014/main" id="{5EF204BF-2EE8-907A-3291-A7C482455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51297" y="2321619"/>
              <a:ext cx="339724" cy="339724"/>
            </a:xfrm>
            <a:prstGeom prst="rect">
              <a:avLst/>
            </a:prstGeom>
          </p:spPr>
        </p:pic>
      </p:grpSp>
      <p:sp>
        <p:nvSpPr>
          <p:cNvPr id="36" name="Emails Documents">
            <a:extLst>
              <a:ext uri="{FF2B5EF4-FFF2-40B4-BE49-F238E27FC236}">
                <a16:creationId xmlns:a16="http://schemas.microsoft.com/office/drawing/2014/main" id="{A43A1B5C-04D5-84B3-DA44-0FBA5AFBCCDC}"/>
              </a:ext>
            </a:extLst>
          </p:cNvPr>
          <p:cNvSpPr txBox="1"/>
          <p:nvPr/>
        </p:nvSpPr>
        <p:spPr>
          <a:xfrm>
            <a:off x="3696105" y="4175102"/>
            <a:ext cx="178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Email </a:t>
            </a:r>
            <a:r>
              <a:rPr lang="de-DE" sz="1400" dirty="0" err="1"/>
              <a:t>messages</a:t>
            </a:r>
            <a:endParaRPr lang="de-DE" sz="1400" dirty="0"/>
          </a:p>
          <a:p>
            <a:pPr algn="ctr"/>
            <a:r>
              <a:rPr lang="de-DE" sz="1400" dirty="0" err="1"/>
              <a:t>Documents</a:t>
            </a:r>
            <a:endParaRPr lang="de-DE" sz="1400" dirty="0"/>
          </a:p>
        </p:txBody>
      </p:sp>
      <p:sp>
        <p:nvSpPr>
          <p:cNvPr id="37" name="Exchange Online Mailboxes">
            <a:extLst>
              <a:ext uri="{FF2B5EF4-FFF2-40B4-BE49-F238E27FC236}">
                <a16:creationId xmlns:a16="http://schemas.microsoft.com/office/drawing/2014/main" id="{EE5B5E4D-A441-674D-AFB7-27219A5B3D5C}"/>
              </a:ext>
            </a:extLst>
          </p:cNvPr>
          <p:cNvSpPr txBox="1"/>
          <p:nvPr/>
        </p:nvSpPr>
        <p:spPr>
          <a:xfrm>
            <a:off x="8681682" y="4181317"/>
            <a:ext cx="14861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Exchange Online</a:t>
            </a:r>
            <a:br>
              <a:rPr lang="de-DE" sz="1400" dirty="0"/>
            </a:br>
            <a:r>
              <a:rPr lang="de-DE" sz="1400" dirty="0"/>
              <a:t>Mailboxes</a:t>
            </a:r>
          </a:p>
        </p:txBody>
      </p:sp>
      <p:sp>
        <p:nvSpPr>
          <p:cNvPr id="38" name="Servers / Disks">
            <a:extLst>
              <a:ext uri="{FF2B5EF4-FFF2-40B4-BE49-F238E27FC236}">
                <a16:creationId xmlns:a16="http://schemas.microsoft.com/office/drawing/2014/main" id="{55E76E3E-24F8-B8FB-7CDC-FC68A51A86E7}"/>
              </a:ext>
            </a:extLst>
          </p:cNvPr>
          <p:cNvSpPr txBox="1"/>
          <p:nvPr/>
        </p:nvSpPr>
        <p:spPr>
          <a:xfrm>
            <a:off x="6753361" y="4175102"/>
            <a:ext cx="1781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Servers / Disks</a:t>
            </a:r>
          </a:p>
        </p:txBody>
      </p:sp>
      <p:sp>
        <p:nvSpPr>
          <p:cNvPr id="39" name="SharePoint/ONeDrive">
            <a:extLst>
              <a:ext uri="{FF2B5EF4-FFF2-40B4-BE49-F238E27FC236}">
                <a16:creationId xmlns:a16="http://schemas.microsoft.com/office/drawing/2014/main" id="{C4CD8C1F-3A69-E847-7516-21C85101A340}"/>
              </a:ext>
            </a:extLst>
          </p:cNvPr>
          <p:cNvSpPr txBox="1"/>
          <p:nvPr/>
        </p:nvSpPr>
        <p:spPr>
          <a:xfrm>
            <a:off x="10033683" y="4183968"/>
            <a:ext cx="18652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SharePoint / OneDrive</a:t>
            </a:r>
            <a:br>
              <a:rPr lang="de-DE" sz="1400" dirty="0"/>
            </a:br>
            <a:r>
              <a:rPr lang="de-DE" sz="1400" dirty="0"/>
              <a:t>Files</a:t>
            </a:r>
          </a:p>
        </p:txBody>
      </p:sp>
      <p:grpSp>
        <p:nvGrpSpPr>
          <p:cNvPr id="40" name="Data-In-Transit">
            <a:extLst>
              <a:ext uri="{FF2B5EF4-FFF2-40B4-BE49-F238E27FC236}">
                <a16:creationId xmlns:a16="http://schemas.microsoft.com/office/drawing/2014/main" id="{56467D27-6FD6-B5DB-266F-945708C9A1B5}"/>
              </a:ext>
            </a:extLst>
          </p:cNvPr>
          <p:cNvGrpSpPr/>
          <p:nvPr/>
        </p:nvGrpSpPr>
        <p:grpSpPr>
          <a:xfrm>
            <a:off x="651641" y="1883134"/>
            <a:ext cx="5360691" cy="369332"/>
            <a:chOff x="-868066" y="1273972"/>
            <a:chExt cx="5360691" cy="369332"/>
          </a:xfrm>
        </p:grpSpPr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0D35CFFD-884F-5B83-13CD-B4247B40BAD1}"/>
                </a:ext>
              </a:extLst>
            </p:cNvPr>
            <p:cNvCxnSpPr>
              <a:cxnSpLocks/>
            </p:cNvCxnSpPr>
            <p:nvPr/>
          </p:nvCxnSpPr>
          <p:spPr>
            <a:xfrm>
              <a:off x="-868066" y="1635125"/>
              <a:ext cx="5360691" cy="0"/>
            </a:xfrm>
            <a:prstGeom prst="line">
              <a:avLst/>
            </a:prstGeom>
            <a:ln>
              <a:solidFill>
                <a:srgbClr val="137BD1"/>
              </a:solidFill>
              <a:headEnd type="oval" w="med" len="med"/>
              <a:tailEnd type="oval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4E97DD04-6248-3D81-220A-67D4686A632A}"/>
                </a:ext>
              </a:extLst>
            </p:cNvPr>
            <p:cNvSpPr txBox="1"/>
            <p:nvPr/>
          </p:nvSpPr>
          <p:spPr>
            <a:xfrm>
              <a:off x="-868065" y="1273972"/>
              <a:ext cx="53606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/>
                <a:t>Data-In-Transfer</a:t>
              </a:r>
            </a:p>
          </p:txBody>
        </p:sp>
      </p:grpSp>
      <p:grpSp>
        <p:nvGrpSpPr>
          <p:cNvPr id="43" name="Data-At-Rest">
            <a:extLst>
              <a:ext uri="{FF2B5EF4-FFF2-40B4-BE49-F238E27FC236}">
                <a16:creationId xmlns:a16="http://schemas.microsoft.com/office/drawing/2014/main" id="{E5C36DE4-1A93-4DA1-D5E4-951D2795D7FE}"/>
              </a:ext>
            </a:extLst>
          </p:cNvPr>
          <p:cNvGrpSpPr/>
          <p:nvPr/>
        </p:nvGrpSpPr>
        <p:grpSpPr>
          <a:xfrm>
            <a:off x="6179671" y="1878282"/>
            <a:ext cx="5507832" cy="369332"/>
            <a:chOff x="4659964" y="1269120"/>
            <a:chExt cx="5507832" cy="369332"/>
          </a:xfrm>
        </p:grpSpPr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2E6A4669-FF07-F780-35FC-77D7553EF415}"/>
                </a:ext>
              </a:extLst>
            </p:cNvPr>
            <p:cNvCxnSpPr>
              <a:cxnSpLocks/>
            </p:cNvCxnSpPr>
            <p:nvPr/>
          </p:nvCxnSpPr>
          <p:spPr>
            <a:xfrm>
              <a:off x="4669897" y="1635125"/>
              <a:ext cx="5497899" cy="0"/>
            </a:xfrm>
            <a:prstGeom prst="line">
              <a:avLst/>
            </a:prstGeom>
            <a:ln>
              <a:solidFill>
                <a:srgbClr val="137BD1"/>
              </a:solidFill>
              <a:headEnd type="oval" w="med" len="med"/>
              <a:tailEnd type="oval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02CF2D7F-CF82-349C-E886-404DC207DB62}"/>
                </a:ext>
              </a:extLst>
            </p:cNvPr>
            <p:cNvSpPr txBox="1"/>
            <p:nvPr/>
          </p:nvSpPr>
          <p:spPr>
            <a:xfrm>
              <a:off x="4659964" y="1269120"/>
              <a:ext cx="55078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/>
                <a:t>Data-At-Rest</a:t>
              </a:r>
            </a:p>
          </p:txBody>
        </p:sp>
      </p:grpSp>
      <p:sp>
        <p:nvSpPr>
          <p:cNvPr id="46" name="BYOK">
            <a:extLst>
              <a:ext uri="{FF2B5EF4-FFF2-40B4-BE49-F238E27FC236}">
                <a16:creationId xmlns:a16="http://schemas.microsoft.com/office/drawing/2014/main" id="{789F656C-A9B5-7567-8974-A0DF10F476C1}"/>
              </a:ext>
            </a:extLst>
          </p:cNvPr>
          <p:cNvSpPr txBox="1"/>
          <p:nvPr/>
        </p:nvSpPr>
        <p:spPr>
          <a:xfrm>
            <a:off x="3538967" y="4980911"/>
            <a:ext cx="2095449" cy="738664"/>
          </a:xfrm>
          <a:prstGeom prst="rect">
            <a:avLst/>
          </a:prstGeom>
          <a:solidFill>
            <a:srgbClr val="137BD1"/>
          </a:solidFill>
          <a:ln>
            <a:solidFill>
              <a:srgbClr val="137BD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Microsoft Managed Key</a:t>
            </a:r>
          </a:p>
          <a:p>
            <a:pPr algn="ctr"/>
            <a:r>
              <a:rPr lang="de-DE" sz="1400" dirty="0"/>
              <a:t>Bring </a:t>
            </a:r>
            <a:r>
              <a:rPr lang="de-DE" sz="1400" dirty="0" err="1"/>
              <a:t>Your</a:t>
            </a:r>
            <a:r>
              <a:rPr lang="de-DE" sz="1400" dirty="0"/>
              <a:t> Own Key</a:t>
            </a:r>
          </a:p>
          <a:p>
            <a:pPr algn="ctr"/>
            <a:r>
              <a:rPr lang="de-DE" sz="1400" dirty="0"/>
              <a:t>Double Key Encryption</a:t>
            </a:r>
          </a:p>
        </p:txBody>
      </p:sp>
      <p:sp>
        <p:nvSpPr>
          <p:cNvPr id="47" name="Customer Key">
            <a:extLst>
              <a:ext uri="{FF2B5EF4-FFF2-40B4-BE49-F238E27FC236}">
                <a16:creationId xmlns:a16="http://schemas.microsoft.com/office/drawing/2014/main" id="{1345B4CE-4AEE-0C3A-D1D2-79B77F08473D}"/>
              </a:ext>
            </a:extLst>
          </p:cNvPr>
          <p:cNvSpPr txBox="1"/>
          <p:nvPr/>
        </p:nvSpPr>
        <p:spPr>
          <a:xfrm>
            <a:off x="8841032" y="4980911"/>
            <a:ext cx="3057912" cy="307777"/>
          </a:xfrm>
          <a:prstGeom prst="rect">
            <a:avLst/>
          </a:prstGeom>
          <a:solidFill>
            <a:srgbClr val="137BD1"/>
          </a:solidFill>
          <a:ln>
            <a:solidFill>
              <a:srgbClr val="137BD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Purview</a:t>
            </a:r>
            <a:r>
              <a:rPr lang="de-DE" sz="1400" dirty="0"/>
              <a:t> Customer Key</a:t>
            </a:r>
          </a:p>
        </p:txBody>
      </p:sp>
    </p:spTree>
    <p:extLst>
      <p:ext uri="{BB962C8B-B14F-4D97-AF65-F5344CB8AC3E}">
        <p14:creationId xmlns:p14="http://schemas.microsoft.com/office/powerpoint/2010/main" val="2987127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36" grpId="0"/>
      <p:bldP spid="37" grpId="0"/>
      <p:bldP spid="38" grpId="0"/>
      <p:bldP spid="39" grpId="0"/>
      <p:bldP spid="46" grpId="0" animBg="1"/>
      <p:bldP spid="4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6B9B8E-090B-80AE-B4A0-2FDBF0C00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redded Storage in SharePoint Online </a:t>
            </a:r>
          </a:p>
        </p:txBody>
      </p:sp>
      <p:grpSp>
        <p:nvGrpSpPr>
          <p:cNvPr id="4" name="Key-Store" descr="A diagram showing the central key store for storing Azure container encryption keys.">
            <a:extLst>
              <a:ext uri="{FF2B5EF4-FFF2-40B4-BE49-F238E27FC236}">
                <a16:creationId xmlns:a16="http://schemas.microsoft.com/office/drawing/2014/main" id="{3654A9E7-951E-9B6B-8C16-0C36AE21E352}"/>
              </a:ext>
            </a:extLst>
          </p:cNvPr>
          <p:cNvGrpSpPr/>
          <p:nvPr/>
        </p:nvGrpSpPr>
        <p:grpSpPr>
          <a:xfrm>
            <a:off x="7776109" y="3208338"/>
            <a:ext cx="2154640" cy="1982244"/>
            <a:chOff x="7776109" y="2551515"/>
            <a:chExt cx="2154640" cy="1982244"/>
          </a:xfrm>
        </p:grpSpPr>
        <p:sp>
          <p:nvSpPr>
            <p:cNvPr id="5" name="Rechteck 4" descr="A diagram showing the central key store for storing Azure container encryption keys.">
              <a:extLst>
                <a:ext uri="{FF2B5EF4-FFF2-40B4-BE49-F238E27FC236}">
                  <a16:creationId xmlns:a16="http://schemas.microsoft.com/office/drawing/2014/main" id="{ABA2BEEB-41D0-4F00-3E69-09C68380433B}"/>
                </a:ext>
              </a:extLst>
            </p:cNvPr>
            <p:cNvSpPr/>
            <p:nvPr/>
          </p:nvSpPr>
          <p:spPr>
            <a:xfrm>
              <a:off x="8003631" y="2890245"/>
              <a:ext cx="1699601" cy="1643514"/>
            </a:xfrm>
            <a:prstGeom prst="rect">
              <a:avLst/>
            </a:prstGeom>
            <a:ln>
              <a:solidFill>
                <a:srgbClr val="41547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7957778B-02EB-0F11-A3B1-1AAFB9AD573D}"/>
                </a:ext>
              </a:extLst>
            </p:cNvPr>
            <p:cNvSpPr txBox="1"/>
            <p:nvPr/>
          </p:nvSpPr>
          <p:spPr>
            <a:xfrm>
              <a:off x="7776109" y="2551515"/>
              <a:ext cx="215464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3867"/>
                  </a:solidFill>
                </a:rPr>
                <a:t>Microsoft Key Store</a:t>
              </a:r>
            </a:p>
          </p:txBody>
        </p:sp>
      </p:grpSp>
      <p:sp>
        <p:nvSpPr>
          <p:cNvPr id="7" name="Rechteck 6" descr="A diagram showing two full document icons with individual encryption keys and a document shredded into four chunks, one encryption key per chunk">
            <a:extLst>
              <a:ext uri="{FF2B5EF4-FFF2-40B4-BE49-F238E27FC236}">
                <a16:creationId xmlns:a16="http://schemas.microsoft.com/office/drawing/2014/main" id="{008A3D95-747D-DDE5-7798-B7F9916DD286}"/>
              </a:ext>
            </a:extLst>
          </p:cNvPr>
          <p:cNvSpPr/>
          <p:nvPr/>
        </p:nvSpPr>
        <p:spPr>
          <a:xfrm>
            <a:off x="217808" y="3564421"/>
            <a:ext cx="3321552" cy="1643514"/>
          </a:xfrm>
          <a:prstGeom prst="rect">
            <a:avLst/>
          </a:prstGeom>
          <a:ln>
            <a:solidFill>
              <a:srgbClr val="41547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Azure-Storage" descr="A diagram with fout Azure storage containers used for storing full documents or document chunks.">
            <a:extLst>
              <a:ext uri="{FF2B5EF4-FFF2-40B4-BE49-F238E27FC236}">
                <a16:creationId xmlns:a16="http://schemas.microsoft.com/office/drawing/2014/main" id="{0DB8102C-D6DA-421D-932C-FE8032CC48EE}"/>
              </a:ext>
            </a:extLst>
          </p:cNvPr>
          <p:cNvGrpSpPr/>
          <p:nvPr/>
        </p:nvGrpSpPr>
        <p:grpSpPr>
          <a:xfrm>
            <a:off x="4110718" y="3204493"/>
            <a:ext cx="3321554" cy="2003442"/>
            <a:chOff x="4110718" y="2547670"/>
            <a:chExt cx="3321554" cy="2003442"/>
          </a:xfrm>
        </p:grpSpPr>
        <p:sp>
          <p:nvSpPr>
            <p:cNvPr id="9" name="Rechteck 8" descr="A diagram with fout Azure storage containers used for storing full documents or document chunks.">
              <a:extLst>
                <a:ext uri="{FF2B5EF4-FFF2-40B4-BE49-F238E27FC236}">
                  <a16:creationId xmlns:a16="http://schemas.microsoft.com/office/drawing/2014/main" id="{BE46EA9C-B757-5B07-FD52-0538B5C915B7}"/>
                </a:ext>
              </a:extLst>
            </p:cNvPr>
            <p:cNvSpPr/>
            <p:nvPr/>
          </p:nvSpPr>
          <p:spPr>
            <a:xfrm>
              <a:off x="4110719" y="2907598"/>
              <a:ext cx="3321553" cy="1643514"/>
            </a:xfrm>
            <a:prstGeom prst="rect">
              <a:avLst/>
            </a:prstGeom>
            <a:ln>
              <a:solidFill>
                <a:srgbClr val="41547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FF81954-8A30-F156-D325-54E4657D7013}"/>
                </a:ext>
              </a:extLst>
            </p:cNvPr>
            <p:cNvSpPr txBox="1"/>
            <p:nvPr/>
          </p:nvSpPr>
          <p:spPr>
            <a:xfrm>
              <a:off x="4110718" y="2547670"/>
              <a:ext cx="332155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rgbClr val="003867"/>
                  </a:solidFill>
                </a:rPr>
                <a:t>Azure Storage Containers </a:t>
              </a:r>
              <a:endParaRPr lang="en-US" sz="1600" b="1" dirty="0">
                <a:solidFill>
                  <a:srgbClr val="003867"/>
                </a:solidFill>
              </a:endParaRPr>
            </a:p>
          </p:txBody>
        </p:sp>
      </p:grpSp>
      <p:grpSp>
        <p:nvGrpSpPr>
          <p:cNvPr id="11" name="Content-Database" descr="A diagram showing a SharePoint Online content database for storing document and chunk encryption keys.">
            <a:extLst>
              <a:ext uri="{FF2B5EF4-FFF2-40B4-BE49-F238E27FC236}">
                <a16:creationId xmlns:a16="http://schemas.microsoft.com/office/drawing/2014/main" id="{B1C15C9E-3D53-20AD-00D8-C487BF4F3537}"/>
              </a:ext>
            </a:extLst>
          </p:cNvPr>
          <p:cNvGrpSpPr/>
          <p:nvPr/>
        </p:nvGrpSpPr>
        <p:grpSpPr>
          <a:xfrm>
            <a:off x="10141241" y="3204493"/>
            <a:ext cx="2180500" cy="1982068"/>
            <a:chOff x="10141241" y="2547670"/>
            <a:chExt cx="2180500" cy="1982068"/>
          </a:xfrm>
        </p:grpSpPr>
        <p:sp>
          <p:nvSpPr>
            <p:cNvPr id="12" name="Rechteck 11" descr="A diagram showing a SharePoint Online content database for storing document and chunk encryption keys.">
              <a:extLst>
                <a:ext uri="{FF2B5EF4-FFF2-40B4-BE49-F238E27FC236}">
                  <a16:creationId xmlns:a16="http://schemas.microsoft.com/office/drawing/2014/main" id="{FBA95157-7E29-0BD5-243F-0BA8B4658B44}"/>
                </a:ext>
              </a:extLst>
            </p:cNvPr>
            <p:cNvSpPr/>
            <p:nvPr/>
          </p:nvSpPr>
          <p:spPr>
            <a:xfrm>
              <a:off x="10274590" y="2886224"/>
              <a:ext cx="1699601" cy="1643514"/>
            </a:xfrm>
            <a:prstGeom prst="rect">
              <a:avLst/>
            </a:prstGeom>
            <a:ln>
              <a:solidFill>
                <a:srgbClr val="415472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9480712-CFBA-F65A-175C-C13924045F73}"/>
                </a:ext>
              </a:extLst>
            </p:cNvPr>
            <p:cNvSpPr txBox="1"/>
            <p:nvPr/>
          </p:nvSpPr>
          <p:spPr>
            <a:xfrm>
              <a:off x="10141241" y="2547670"/>
              <a:ext cx="2180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>
                  <a:solidFill>
                    <a:srgbClr val="003867"/>
                  </a:solidFill>
                </a:rPr>
                <a:t>Content Database</a:t>
              </a:r>
              <a:endParaRPr lang="en-US" sz="1600" b="1" dirty="0">
                <a:solidFill>
                  <a:srgbClr val="003867"/>
                </a:solidFill>
              </a:endParaRPr>
            </a:p>
          </p:txBody>
        </p:sp>
      </p:grpSp>
      <p:pic>
        <p:nvPicPr>
          <p:cNvPr id="14" name="Content-Database" descr="Datenbank mit einfarbiger Füllung">
            <a:extLst>
              <a:ext uri="{FF2B5EF4-FFF2-40B4-BE49-F238E27FC236}">
                <a16:creationId xmlns:a16="http://schemas.microsoft.com/office/drawing/2014/main" id="{17A4133F-01CE-25DD-7BA9-E122B4C675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67598" y="3890233"/>
            <a:ext cx="914400" cy="914400"/>
          </a:xfrm>
          <a:prstGeom prst="rect">
            <a:avLst/>
          </a:prstGeom>
        </p:spPr>
      </p:pic>
      <p:sp>
        <p:nvSpPr>
          <p:cNvPr id="15" name="Label-Chunks" descr="Speech bubble with the word &quot;Chunks&quot;, pointing to the four doucment chunks.">
            <a:extLst>
              <a:ext uri="{FF2B5EF4-FFF2-40B4-BE49-F238E27FC236}">
                <a16:creationId xmlns:a16="http://schemas.microsoft.com/office/drawing/2014/main" id="{76DCF9B7-5A1D-B07A-E8AC-93EAE52478CE}"/>
              </a:ext>
            </a:extLst>
          </p:cNvPr>
          <p:cNvSpPr/>
          <p:nvPr/>
        </p:nvSpPr>
        <p:spPr>
          <a:xfrm>
            <a:off x="1210066" y="5704864"/>
            <a:ext cx="1863617" cy="449136"/>
          </a:xfrm>
          <a:prstGeom prst="wedgeRoundRectCallout">
            <a:avLst>
              <a:gd name="adj1" fmla="val 38956"/>
              <a:gd name="adj2" fmla="val -208845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unks</a:t>
            </a:r>
          </a:p>
        </p:txBody>
      </p:sp>
      <p:sp>
        <p:nvSpPr>
          <p:cNvPr id="16" name="Textfeld 15" descr="A diagram showing two full document icons with individual encryption keys and a document shredded into four chunks, one encryption key per chunk">
            <a:extLst>
              <a:ext uri="{FF2B5EF4-FFF2-40B4-BE49-F238E27FC236}">
                <a16:creationId xmlns:a16="http://schemas.microsoft.com/office/drawing/2014/main" id="{4C85E1AA-5E42-C7CE-215A-5451A3A24B3F}"/>
              </a:ext>
            </a:extLst>
          </p:cNvPr>
          <p:cNvSpPr txBox="1"/>
          <p:nvPr/>
        </p:nvSpPr>
        <p:spPr>
          <a:xfrm>
            <a:off x="217807" y="3208338"/>
            <a:ext cx="3321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3867"/>
                </a:solidFill>
              </a:rPr>
              <a:t>Encrypted Files</a:t>
            </a:r>
          </a:p>
        </p:txBody>
      </p:sp>
      <p:pic>
        <p:nvPicPr>
          <p:cNvPr id="17" name="Storage-Containers" descr="Four Azure Storage Containers">
            <a:extLst>
              <a:ext uri="{FF2B5EF4-FFF2-40B4-BE49-F238E27FC236}">
                <a16:creationId xmlns:a16="http://schemas.microsoft.com/office/drawing/2014/main" id="{240782FD-5B12-42A4-99F5-33836A4A8E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8577" y="3934351"/>
            <a:ext cx="2945832" cy="564299"/>
          </a:xfrm>
          <a:prstGeom prst="rect">
            <a:avLst/>
          </a:prstGeom>
        </p:spPr>
      </p:pic>
      <p:pic>
        <p:nvPicPr>
          <p:cNvPr id="18" name="Key-A" descr="Azure Key A">
            <a:extLst>
              <a:ext uri="{FF2B5EF4-FFF2-40B4-BE49-F238E27FC236}">
                <a16:creationId xmlns:a16="http://schemas.microsoft.com/office/drawing/2014/main" id="{1759984D-F227-254E-BE06-0802B18D2F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0746" y="4572894"/>
            <a:ext cx="257175" cy="495300"/>
          </a:xfrm>
          <a:prstGeom prst="rect">
            <a:avLst/>
          </a:prstGeom>
        </p:spPr>
      </p:pic>
      <p:pic>
        <p:nvPicPr>
          <p:cNvPr id="19" name="Key-B" descr="Azure Key B">
            <a:extLst>
              <a:ext uri="{FF2B5EF4-FFF2-40B4-BE49-F238E27FC236}">
                <a16:creationId xmlns:a16="http://schemas.microsoft.com/office/drawing/2014/main" id="{5D104229-D390-DB47-5078-8FA55EA3BB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5631" y="4554794"/>
            <a:ext cx="257175" cy="495300"/>
          </a:xfrm>
          <a:prstGeom prst="rect">
            <a:avLst/>
          </a:prstGeom>
        </p:spPr>
      </p:pic>
      <p:pic>
        <p:nvPicPr>
          <p:cNvPr id="20" name="Key-C" descr="Azure Key C">
            <a:extLst>
              <a:ext uri="{FF2B5EF4-FFF2-40B4-BE49-F238E27FC236}">
                <a16:creationId xmlns:a16="http://schemas.microsoft.com/office/drawing/2014/main" id="{DCC01748-236A-3756-5CD0-6A6F12A384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13350" y="4554794"/>
            <a:ext cx="257175" cy="495300"/>
          </a:xfrm>
          <a:prstGeom prst="rect">
            <a:avLst/>
          </a:prstGeom>
        </p:spPr>
      </p:pic>
      <p:pic>
        <p:nvPicPr>
          <p:cNvPr id="21" name="Key-D" descr="Azure Key D">
            <a:extLst>
              <a:ext uri="{FF2B5EF4-FFF2-40B4-BE49-F238E27FC236}">
                <a16:creationId xmlns:a16="http://schemas.microsoft.com/office/drawing/2014/main" id="{273BA5F9-404C-08DA-F6FA-D2ECF02603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71069" y="4546696"/>
            <a:ext cx="257175" cy="495300"/>
          </a:xfrm>
          <a:prstGeom prst="rect">
            <a:avLst/>
          </a:prstGeom>
        </p:spPr>
      </p:pic>
      <p:grpSp>
        <p:nvGrpSpPr>
          <p:cNvPr id="22" name="Key-Store-Database" descr="Key Store Database">
            <a:extLst>
              <a:ext uri="{FF2B5EF4-FFF2-40B4-BE49-F238E27FC236}">
                <a16:creationId xmlns:a16="http://schemas.microsoft.com/office/drawing/2014/main" id="{F9C1C079-A695-9130-17C4-11EDB585DCD9}"/>
              </a:ext>
            </a:extLst>
          </p:cNvPr>
          <p:cNvGrpSpPr/>
          <p:nvPr/>
        </p:nvGrpSpPr>
        <p:grpSpPr>
          <a:xfrm>
            <a:off x="8395002" y="3928908"/>
            <a:ext cx="914400" cy="914400"/>
            <a:chOff x="8395002" y="3272085"/>
            <a:chExt cx="914400" cy="914400"/>
          </a:xfrm>
        </p:grpSpPr>
        <p:pic>
          <p:nvPicPr>
            <p:cNvPr id="23" name="Grafik 22" descr="Datenbank mit einfarbiger Füllung">
              <a:extLst>
                <a:ext uri="{FF2B5EF4-FFF2-40B4-BE49-F238E27FC236}">
                  <a16:creationId xmlns:a16="http://schemas.microsoft.com/office/drawing/2014/main" id="{E917F805-A226-B6FE-2508-E405E88214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95002" y="3272085"/>
              <a:ext cx="914400" cy="914400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3BC7F62-CF45-067A-F05F-3084D36A9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908384" y="3649739"/>
              <a:ext cx="277557" cy="451030"/>
            </a:xfrm>
            <a:prstGeom prst="rect">
              <a:avLst/>
            </a:prstGeom>
          </p:spPr>
        </p:pic>
      </p:grpSp>
      <p:pic>
        <p:nvPicPr>
          <p:cNvPr id="25" name="Chunk-A" descr="Document Chank A">
            <a:extLst>
              <a:ext uri="{FF2B5EF4-FFF2-40B4-BE49-F238E27FC236}">
                <a16:creationId xmlns:a16="http://schemas.microsoft.com/office/drawing/2014/main" id="{1642D119-A62D-4C4B-4505-B03B0D1659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50154" y="3906869"/>
            <a:ext cx="457240" cy="182896"/>
          </a:xfrm>
          <a:prstGeom prst="rect">
            <a:avLst/>
          </a:prstGeom>
        </p:spPr>
      </p:pic>
      <p:pic>
        <p:nvPicPr>
          <p:cNvPr id="26" name="Chunk-B" descr="Document Chank B">
            <a:extLst>
              <a:ext uri="{FF2B5EF4-FFF2-40B4-BE49-F238E27FC236}">
                <a16:creationId xmlns:a16="http://schemas.microsoft.com/office/drawing/2014/main" id="{32F2B764-4074-6AA2-E0FB-AEC7FBE4001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50154" y="4216501"/>
            <a:ext cx="457240" cy="134124"/>
          </a:xfrm>
          <a:prstGeom prst="rect">
            <a:avLst/>
          </a:prstGeom>
        </p:spPr>
      </p:pic>
      <p:pic>
        <p:nvPicPr>
          <p:cNvPr id="27" name="Chunk-C" descr="Document Chank C">
            <a:extLst>
              <a:ext uri="{FF2B5EF4-FFF2-40B4-BE49-F238E27FC236}">
                <a16:creationId xmlns:a16="http://schemas.microsoft.com/office/drawing/2014/main" id="{C7CFD871-82D0-5BD5-56F0-FF4D4634BC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50154" y="4484684"/>
            <a:ext cx="457240" cy="140220"/>
          </a:xfrm>
          <a:prstGeom prst="rect">
            <a:avLst/>
          </a:prstGeom>
        </p:spPr>
      </p:pic>
      <p:pic>
        <p:nvPicPr>
          <p:cNvPr id="28" name="Chunk-D" descr="Document Chank D">
            <a:extLst>
              <a:ext uri="{FF2B5EF4-FFF2-40B4-BE49-F238E27FC236}">
                <a16:creationId xmlns:a16="http://schemas.microsoft.com/office/drawing/2014/main" id="{E832D4F3-5668-97FF-4313-D863AD39D48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650154" y="4756245"/>
            <a:ext cx="457240" cy="195089"/>
          </a:xfrm>
          <a:prstGeom prst="rect">
            <a:avLst/>
          </a:prstGeom>
        </p:spPr>
      </p:pic>
      <p:pic>
        <p:nvPicPr>
          <p:cNvPr id="29" name="Chunk-A-Key">
            <a:extLst>
              <a:ext uri="{FF2B5EF4-FFF2-40B4-BE49-F238E27FC236}">
                <a16:creationId xmlns:a16="http://schemas.microsoft.com/office/drawing/2014/main" id="{5CD32DC0-D501-C22C-0E66-C0B681255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393791" y="3868880"/>
            <a:ext cx="165968" cy="260807"/>
          </a:xfrm>
          <a:prstGeom prst="rect">
            <a:avLst/>
          </a:prstGeom>
        </p:spPr>
      </p:pic>
      <p:pic>
        <p:nvPicPr>
          <p:cNvPr id="30" name="Chunk-B-Key">
            <a:extLst>
              <a:ext uri="{FF2B5EF4-FFF2-40B4-BE49-F238E27FC236}">
                <a16:creationId xmlns:a16="http://schemas.microsoft.com/office/drawing/2014/main" id="{53E822F0-A32A-AC46-E7A4-8543394A2C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395790" y="4153160"/>
            <a:ext cx="165968" cy="260807"/>
          </a:xfrm>
          <a:prstGeom prst="rect">
            <a:avLst/>
          </a:prstGeom>
        </p:spPr>
      </p:pic>
      <p:pic>
        <p:nvPicPr>
          <p:cNvPr id="31" name="Chunk-C-Key">
            <a:extLst>
              <a:ext uri="{FF2B5EF4-FFF2-40B4-BE49-F238E27FC236}">
                <a16:creationId xmlns:a16="http://schemas.microsoft.com/office/drawing/2014/main" id="{49E8AD46-A960-5901-0BE8-350DF2BB29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393791" y="4424391"/>
            <a:ext cx="165968" cy="260807"/>
          </a:xfrm>
          <a:prstGeom prst="rect">
            <a:avLst/>
          </a:prstGeom>
        </p:spPr>
      </p:pic>
      <p:pic>
        <p:nvPicPr>
          <p:cNvPr id="32" name="Chunk-D-Key">
            <a:extLst>
              <a:ext uri="{FF2B5EF4-FFF2-40B4-BE49-F238E27FC236}">
                <a16:creationId xmlns:a16="http://schemas.microsoft.com/office/drawing/2014/main" id="{1C06FDF5-78FE-15CD-DB31-DA0B30E7C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393791" y="4695622"/>
            <a:ext cx="165968" cy="260807"/>
          </a:xfrm>
          <a:prstGeom prst="rect">
            <a:avLst/>
          </a:prstGeom>
        </p:spPr>
      </p:pic>
      <p:pic>
        <p:nvPicPr>
          <p:cNvPr id="33" name="File-B-Key">
            <a:extLst>
              <a:ext uri="{FF2B5EF4-FFF2-40B4-BE49-F238E27FC236}">
                <a16:creationId xmlns:a16="http://schemas.microsoft.com/office/drawing/2014/main" id="{AEBE7CA8-75FD-1648-E796-C4CEB4287E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73387" y="4285918"/>
            <a:ext cx="200025" cy="314325"/>
          </a:xfrm>
          <a:prstGeom prst="rect">
            <a:avLst/>
          </a:prstGeom>
        </p:spPr>
      </p:pic>
      <p:pic>
        <p:nvPicPr>
          <p:cNvPr id="34" name="File-A-Key">
            <a:extLst>
              <a:ext uri="{FF2B5EF4-FFF2-40B4-BE49-F238E27FC236}">
                <a16:creationId xmlns:a16="http://schemas.microsoft.com/office/drawing/2014/main" id="{57458FD1-B569-B077-B5C5-6DFC67ED34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82698" y="4285917"/>
            <a:ext cx="200025" cy="314325"/>
          </a:xfrm>
          <a:prstGeom prst="rect">
            <a:avLst/>
          </a:prstGeom>
        </p:spPr>
      </p:pic>
      <p:pic>
        <p:nvPicPr>
          <p:cNvPr id="35" name="File-B">
            <a:extLst>
              <a:ext uri="{FF2B5EF4-FFF2-40B4-BE49-F238E27FC236}">
                <a16:creationId xmlns:a16="http://schemas.microsoft.com/office/drawing/2014/main" id="{1CA01663-B190-E42B-C584-FF3ECF819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60578" y="4085823"/>
            <a:ext cx="451546" cy="523220"/>
          </a:xfrm>
          <a:prstGeom prst="rect">
            <a:avLst/>
          </a:prstGeom>
        </p:spPr>
      </p:pic>
      <p:pic>
        <p:nvPicPr>
          <p:cNvPr id="36" name="File-A">
            <a:extLst>
              <a:ext uri="{FF2B5EF4-FFF2-40B4-BE49-F238E27FC236}">
                <a16:creationId xmlns:a16="http://schemas.microsoft.com/office/drawing/2014/main" id="{9817B64C-720A-1309-E146-854EA5741B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6306" y="4085823"/>
            <a:ext cx="451546" cy="523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89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44444E-6 L 0.07708 0.04005 C 0.0931 0.04908 0.11732 0.05394 0.14258 0.05394 C 0.17136 0.05394 0.19453 0.04908 0.21055 0.04005 L 0.28776 -4.44444E-6 " pathEditMode="relative" rAng="0" ptsTypes="AAAAA">
                                      <p:cBhvr>
                                        <p:cTn id="6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88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000"/>
                            </p:stCondLst>
                            <p:childTnLst>
                              <p:par>
                                <p:cTn id="6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000"/>
                            </p:stCondLst>
                            <p:childTnLst>
                              <p:par>
                                <p:cTn id="65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375E-6 -4.44444E-6 L 0.09701 0.04005 C 0.11719 0.04908 0.14753 0.05394 0.17943 0.05394 C 0.21563 0.05394 0.24467 0.04908 0.26485 0.04005 L 0.36198 -4.44444E-6 " pathEditMode="relative" rAng="0" ptsTypes="AAAAA">
                                      <p:cBhvr>
                                        <p:cTn id="66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99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2.96296E-6 L 0.06692 0.03958 C 0.08086 0.04861 0.10846 0.05185 0.12383 0.05347 C 0.13932 0.05532 0.14518 0.05486 0.1595 0.04977 C 0.1845 0.04097 0.18398 0.04259 0.20638 0.02916 " pathEditMode="relative" rAng="0" ptsTypes="AAAAA">
                                      <p:cBhvr>
                                        <p:cTn id="73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312" y="2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"/>
                            </p:stCondLst>
                            <p:childTnLst>
                              <p:par>
                                <p:cTn id="7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9167E-6 -3.7037E-6 L 0.08867 0.04005 C 0.10703 0.04908 0.13476 0.05394 0.16393 0.05394 C 0.197 0.05394 0.22357 0.04908 0.24192 0.04005 L 0.33073 -3.7037E-6 " pathEditMode="relative" rAng="0" ptsTypes="AAAAA">
                                      <p:cBhvr>
                                        <p:cTn id="7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536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500"/>
                            </p:stCondLst>
                            <p:childTnLst>
                              <p:par>
                                <p:cTn id="8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4500"/>
                            </p:stCondLst>
                            <p:childTnLst>
                              <p:par>
                                <p:cTn id="84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9167E-6 -0.00023 L 0.06692 0.03981 C 0.08086 0.04884 0.10195 0.05393 0.12396 0.05393 C 0.14896 0.05393 0.16888 0.04884 0.18294 0.03981 C 0.20508 0.02639 0.24375 -0.02107 0.26614 -0.04584 " pathEditMode="relative" rAng="0" ptsTypes="AAAAA">
                                      <p:cBhvr>
                                        <p:cTn id="85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307" y="4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000"/>
                            </p:stCondLst>
                            <p:childTnLst>
                              <p:par>
                                <p:cTn id="8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7000"/>
                            </p:stCondLst>
                            <p:childTnLst>
                              <p:par>
                                <p:cTn id="90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29167E-6 -0.00047 L 0.03112 0.03958 C 0.03763 0.04861 0.04726 0.05393 0.05755 0.05393 C 0.0694 0.05393 0.07851 0.04861 0.08515 0.03958 C 0.09544 0.02638 0.13216 -0.0676 0.14101 -0.08843 " pathEditMode="relative" rAng="0" ptsTypes="AAAAA">
                                      <p:cBhvr>
                                        <p:cTn id="9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44" y="-16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500"/>
                            </p:stCondLst>
                            <p:childTnLst>
                              <p:par>
                                <p:cTn id="9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00"/>
                            </p:stCondLst>
                            <p:childTnLst>
                              <p:par>
                                <p:cTn id="10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00"/>
                            </p:stCondLst>
                            <p:childTnLst>
                              <p:par>
                                <p:cTn id="10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4.07407E-6 L 0.34557 -0.06412 " pathEditMode="relative" rAng="0" ptsTypes="AA">
                                      <p:cBhvr>
                                        <p:cTn id="11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279" y="-3218"/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85185E-6 L 0.28476 -0.06134 " pathEditMode="relative" rAng="0" ptsTypes="AA">
                                      <p:cBhvr>
                                        <p:cTn id="12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232" y="-3079"/>
                                    </p:animMotion>
                                  </p:childTnLst>
                                </p:cTn>
                              </p:par>
                              <p:par>
                                <p:cTn id="1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1.85185E-6 L 0.22174 -0.06134 " pathEditMode="relative" rAng="0" ptsTypes="AA">
                                      <p:cBhvr>
                                        <p:cTn id="12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81" y="-3079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7.40741E-7 L 0.16015 -0.06018 " pathEditMode="relative" rAng="0" ptsTypes="AA">
                                      <p:cBhvr>
                                        <p:cTn id="12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008" y="-30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000"/>
                            </p:stCondLst>
                            <p:childTnLst>
                              <p:par>
                                <p:cTn id="1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-0.00231 L 0.90573 -0.06273 " pathEditMode="relative" rAng="0" ptsTypes="AA">
                                      <p:cBhvr>
                                        <p:cTn id="144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247" y="-3032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-3.33333E-6 L 0.84154 -0.10277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2044" y="-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2000"/>
                            </p:stCondLst>
                            <p:childTnLst>
                              <p:par>
                                <p:cTn id="14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26 1.48148E-6 L 0.75886 0.0368 " pathEditMode="relative" rAng="0" ptsTypes="AA">
                                      <p:cBhvr>
                                        <p:cTn id="14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773" y="1829"/>
                                    </p:animMotion>
                                  </p:childTnLst>
                                </p:cTn>
                              </p:par>
                              <p:par>
                                <p:cTn id="1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6 -3.7037E-6 L 0.75859 0.02917 " pathEditMode="relative" rAng="0" ptsTypes="AA">
                                      <p:cBhvr>
                                        <p:cTn id="151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799" y="1458"/>
                                    </p:animMotion>
                                  </p:childTnLst>
                                </p:cTn>
                              </p:par>
                              <p:par>
                                <p:cTn id="15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31 -0.00116 L 0.75873 0.02268 " pathEditMode="relative" rAng="0" ptsTypes="AA">
                                      <p:cBhvr>
                                        <p:cTn id="153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65" y="1181"/>
                                    </p:animMotion>
                                  </p:childTnLst>
                                </p:cTn>
                              </p:par>
                              <p:par>
                                <p:cTn id="15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7 L 0.7586 0.0162 " pathEditMode="relative" rAng="0" ptsTypes="AA">
                                      <p:cBhvr>
                                        <p:cTn id="155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930" y="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BD4A6B4-6368-C2DB-40F8-1759652DE94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What is it and how does it work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915B47D-7832-D55B-8B70-7951123E3A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icrosoft Purview Customer Key</a:t>
            </a:r>
          </a:p>
        </p:txBody>
      </p:sp>
    </p:spTree>
    <p:extLst>
      <p:ext uri="{BB962C8B-B14F-4D97-AF65-F5344CB8AC3E}">
        <p14:creationId xmlns:p14="http://schemas.microsoft.com/office/powerpoint/2010/main" val="175671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D030FF97B6C34F89FD74A51F6DEDAD" ma:contentTypeVersion="14" ma:contentTypeDescription="Create a new document." ma:contentTypeScope="" ma:versionID="0bc17fb90af1f4c72e45af04abd09787">
  <xsd:schema xmlns:xsd="http://www.w3.org/2001/XMLSchema" xmlns:xs="http://www.w3.org/2001/XMLSchema" xmlns:p="http://schemas.microsoft.com/office/2006/metadata/properties" xmlns:ns2="3a568665-ea97-4759-a60d-3fa5399c1650" xmlns:ns3="62d6cd79-aa1e-4139-b4a7-3c8cf88cd3a9" targetNamespace="http://schemas.microsoft.com/office/2006/metadata/properties" ma:root="true" ma:fieldsID="f548b5178d3fbfa5e331fe7d90bf619d" ns2:_="" ns3:_="">
    <xsd:import namespace="3a568665-ea97-4759-a60d-3fa5399c1650"/>
    <xsd:import namespace="62d6cd79-aa1e-4139-b4a7-3c8cf88cd3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OneNoteFluid_FileOrder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568665-ea97-4759-a60d-3fa5399c16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OneNoteFluid_FileOrder" ma:index="12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d6cd79-aa1e-4139-b4a7-3c8cf88cd3a9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93ab7897-b18d-42d9-9f54-a32770ffe4cd}" ma:internalName="TaxCatchAll" ma:showField="CatchAllData" ma:web="62d6cd79-aa1e-4139-b4a7-3c8cf88cd3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neNoteFluid_FileOrder xmlns="3a568665-ea97-4759-a60d-3fa5399c1650" xsi:nil="true"/>
    <TaxCatchAll xmlns="62d6cd79-aa1e-4139-b4a7-3c8cf88cd3a9" xsi:nil="true"/>
    <lcf76f155ced4ddcb4097134ff3c332f xmlns="3a568665-ea97-4759-a60d-3fa5399c165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D2D685B-3D82-4A47-B784-2D7DB66A2A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568665-ea97-4759-a60d-3fa5399c1650"/>
    <ds:schemaRef ds:uri="62d6cd79-aa1e-4139-b4a7-3c8cf88cd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7E224B2-06D5-4A2A-8D55-3A68390B87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E4129D-F018-4CEA-9FD8-A668C8C7CB54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2d6cd79-aa1e-4139-b4a7-3c8cf88cd3a9"/>
    <ds:schemaRef ds:uri="3a568665-ea97-4759-a60d-3fa5399c1650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24</Words>
  <Application>Microsoft Office PowerPoint</Application>
  <PresentationFormat>Breitbild</PresentationFormat>
  <Paragraphs>343</Paragraphs>
  <Slides>48</Slides>
  <Notes>32</Notes>
  <HiddenSlides>5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57" baseType="lpstr">
      <vt:lpstr>Arial</vt:lpstr>
      <vt:lpstr>Calibri</vt:lpstr>
      <vt:lpstr>Courier New</vt:lpstr>
      <vt:lpstr>Open Sans</vt:lpstr>
      <vt:lpstr>Segoe UI</vt:lpstr>
      <vt:lpstr>Segoe UI Light</vt:lpstr>
      <vt:lpstr>Segoe UI Semibold</vt:lpstr>
      <vt:lpstr>SegoeUI</vt:lpstr>
      <vt:lpstr>Office Theme</vt:lpstr>
      <vt:lpstr>PowerPoint-Präsentation</vt:lpstr>
      <vt:lpstr>PowerPoint-Präsentation</vt:lpstr>
      <vt:lpstr>Agenda</vt:lpstr>
      <vt:lpstr>PowerPoint-Präsentation</vt:lpstr>
      <vt:lpstr>TLS Transport encryption</vt:lpstr>
      <vt:lpstr>Other encryption technologies</vt:lpstr>
      <vt:lpstr>Microsoft 365 Encryption</vt:lpstr>
      <vt:lpstr>Shredded Storage in SharePoint Online </vt:lpstr>
      <vt:lpstr>PowerPoint-Präsentation</vt:lpstr>
      <vt:lpstr>Why is Customer Key available?</vt:lpstr>
      <vt:lpstr>Customer Key Basics</vt:lpstr>
      <vt:lpstr>Customer Key Basics</vt:lpstr>
      <vt:lpstr>Notes</vt:lpstr>
      <vt:lpstr>Notes</vt:lpstr>
      <vt:lpstr>Licensing</vt:lpstr>
      <vt:lpstr>Key Management</vt:lpstr>
      <vt:lpstr>Microsoft 365 Data-at-Rest</vt:lpstr>
      <vt:lpstr>Microsoft 365 Data-at-Rest</vt:lpstr>
      <vt:lpstr>Microsoft 365 Data-at-Rest</vt:lpstr>
      <vt:lpstr>Microsoft 365 Data-at-Rest</vt:lpstr>
      <vt:lpstr>Exchange Online</vt:lpstr>
      <vt:lpstr>Exchange Online und Microsoft Teams</vt:lpstr>
      <vt:lpstr>SharePoint Online</vt:lpstr>
      <vt:lpstr>SharePoint Online</vt:lpstr>
      <vt:lpstr>Notes </vt:lpstr>
      <vt:lpstr>PowerPoint-Präsentation</vt:lpstr>
      <vt:lpstr>Prepare for FastTrack</vt:lpstr>
      <vt:lpstr>Prepare for FastTrack</vt:lpstr>
      <vt:lpstr>Prepare for FastTrack</vt:lpstr>
      <vt:lpstr>Configuration</vt:lpstr>
      <vt:lpstr>Configuration</vt:lpstr>
      <vt:lpstr>Configuration</vt:lpstr>
      <vt:lpstr>FastTrack</vt:lpstr>
      <vt:lpstr>FastTrack</vt:lpstr>
      <vt:lpstr>FastTrack</vt:lpstr>
      <vt:lpstr>FastTrack</vt:lpstr>
      <vt:lpstr>FastTrack</vt:lpstr>
      <vt:lpstr>PowerPoint-Präsentation</vt:lpstr>
      <vt:lpstr>Data Encryption Policy Management</vt:lpstr>
      <vt:lpstr>Multi-Workload</vt:lpstr>
      <vt:lpstr>Multi-Workload</vt:lpstr>
      <vt:lpstr>Exchange Online</vt:lpstr>
      <vt:lpstr>Exchange Online</vt:lpstr>
      <vt:lpstr>SharePoint Online</vt:lpstr>
      <vt:lpstr>SharePoint Online</vt:lpstr>
      <vt:lpstr>Thank You</vt:lpstr>
      <vt:lpstr>Resources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C 2022 - Service Encryption with Purview Customer Key</dc:title>
  <dc:creator>Thomas.Stensitzki@Granikos.eu</dc:creator>
  <cp:lastModifiedBy>Thomas Stensitzki</cp:lastModifiedBy>
  <cp:revision>8</cp:revision>
  <dcterms:created xsi:type="dcterms:W3CDTF">2022-06-22T19:47:45Z</dcterms:created>
  <dcterms:modified xsi:type="dcterms:W3CDTF">2022-09-16T08:2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D030FF97B6C34F89FD74A51F6DEDAD</vt:lpwstr>
  </property>
</Properties>
</file>